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</p:sldIdLst>
  <p:sldSz cx="12192000" cy="6858000"/>
  <p:notesSz cx="6858000" cy="12192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-1236" y="-90"/>
      </p:cViewPr>
      <p:guideLst>
        <p:guide pos="2160"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presProps" Target="presProps.xml" /><Relationship Id="rId13" Type="http://schemas.openxmlformats.org/officeDocument/2006/relationships/tableStyles" Target="tableStyles.xml" /><Relationship Id="rId14" Type="http://schemas.openxmlformats.org/officeDocument/2006/relationships/viewProps" Target="viewProps.xml" /></Relationship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" userDrawn="1">
  <p:cSld name="Титульный слайд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ctrTitle" hasCustomPrompt="0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Подзаголовок 2" hidden="0"/>
          <p:cNvSpPr>
            <a:spLocks noGrp="1"/>
          </p:cNvSpPr>
          <p:nvPr isPhoto="0" userDrawn="0">
            <p:ph type="subTitle" idx="1" hasCustomPrompt="0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6" name="Дата 3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7" name="Нижний колонтитул 4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x" userDrawn="1">
  <p:cSld name="Заголовок и вертикальный текст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Вертикальный текст 2" hidden="0"/>
          <p:cNvSpPr>
            <a:spLocks noGrp="1"/>
          </p:cNvSpPr>
          <p:nvPr isPhoto="0" userDrawn="0">
            <p:ph type="body" orient="vert" idx="1" hasCustomPrompt="0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Дата 3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7" name="Нижний колонтитул 4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itleAndTx" userDrawn="1">
  <p:cSld name="Вертикальный заголовок и текст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Вертикальный заголовок 1" hidden="0"/>
          <p:cNvSpPr>
            <a:spLocks noGrp="1"/>
          </p:cNvSpPr>
          <p:nvPr isPhoto="0" userDrawn="0">
            <p:ph type="title" orient="vert" hasCustomPrompt="0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Вертикальный текст 2" hidden="0"/>
          <p:cNvSpPr>
            <a:spLocks noGrp="1"/>
          </p:cNvSpPr>
          <p:nvPr isPhoto="0" userDrawn="0">
            <p:ph type="body" orient="vert" idx="1" hasCustomPrompt="0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Дата 3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7" name="Нижний колонтитул 4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tx" userDrawn="1">
  <p:cSld name="Title and body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Shape 59" hidden="0"/>
          <p:cNvSpPr>
            <a:spLocks noAdjustHandles="0" noChangeArrowheads="0"/>
          </p:cNvSpPr>
          <p:nvPr isPhoto="0" userDrawn="0">
            <p:ph type="title" hasCustomPrompt="0"/>
          </p:nvPr>
        </p:nvSpPr>
        <p:spPr bwMode="auto"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pPr>
              <a:defRPr/>
            </a:pPr>
            <a:endParaRPr/>
          </a:p>
        </p:txBody>
      </p:sp>
      <p:sp>
        <p:nvSpPr>
          <p:cNvPr id="5" name="Shape 60" hidden="0"/>
          <p:cNvSpPr>
            <a:spLocks noAdjustHandles="0" noChangeArrowheads="0"/>
          </p:cNvSpPr>
          <p:nvPr isPhoto="0" userDrawn="0">
            <p:ph type="body" idx="1" hasCustomPrompt="0"/>
          </p:nvPr>
        </p:nvSpPr>
        <p:spPr bwMode="auto"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pPr>
              <a:defRPr/>
            </a:pPr>
            <a:endParaRPr/>
          </a:p>
        </p:txBody>
      </p:sp>
      <p:sp>
        <p:nvSpPr>
          <p:cNvPr id="6" name="Shape 61" hidden="0"/>
          <p:cNvSpPr>
            <a:spLocks noAdjustHandles="0" noChangeArrowheads="0"/>
          </p:cNvSpPr>
          <p:nvPr isPhoto="0" userDrawn="0">
            <p:ph type="sldNum" idx="12" hasCustomPrompt="0"/>
          </p:nvPr>
        </p:nvSpPr>
        <p:spPr bwMode="auto"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>
              <a:defRPr/>
            </a:pPr>
            <a:fld id="{00000000-1234-1234-1234-123412341234}" type="slidenum">
              <a:rPr lang="en"/>
              <a:t/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obj" userDrawn="1">
  <p:cSld name="Заголовок и объект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Объект 2" hidden="0"/>
          <p:cNvSpPr>
            <a:spLocks noGrp="1"/>
          </p:cNvSpPr>
          <p:nvPr isPhoto="0" userDrawn="0">
            <p:ph idx="1" hasCustomPrompt="0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Дата 3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7" name="Нижний колонтитул 4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secHead" userDrawn="1">
  <p:cSld name="Заголовок раздела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Текст 2" hidden="0"/>
          <p:cNvSpPr>
            <a:spLocks noGrp="1"/>
          </p:cNvSpPr>
          <p:nvPr isPhoto="0" userDrawn="0">
            <p:ph type="body" idx="1" hasCustomPrompt="0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Дата 3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7" name="Нижний колонтитул 4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Obj" userDrawn="1">
  <p:cSld name="Два объекта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Объект 2" hidden="0"/>
          <p:cNvSpPr>
            <a:spLocks noGrp="1"/>
          </p:cNvSpPr>
          <p:nvPr isPhoto="0" userDrawn="0">
            <p:ph sz="half" idx="1" hasCustomPrompt="0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Объект 3" hidden="0"/>
          <p:cNvSpPr>
            <a:spLocks noGrp="1"/>
          </p:cNvSpPr>
          <p:nvPr isPhoto="0" userDrawn="0">
            <p:ph sz="half" idx="2" hasCustomPrompt="0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4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8" name="Нижний колонтитул 5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TxTwoObj" userDrawn="1">
  <p:cSld name="Сравнение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Текст 2" hidden="0"/>
          <p:cNvSpPr>
            <a:spLocks noGrp="1"/>
          </p:cNvSpPr>
          <p:nvPr isPhoto="0" userDrawn="0">
            <p:ph type="body" idx="1" hasCustomPrompt="0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3" hidden="0"/>
          <p:cNvSpPr>
            <a:spLocks noGrp="1"/>
          </p:cNvSpPr>
          <p:nvPr isPhoto="0" userDrawn="0">
            <p:ph sz="half" idx="2" hasCustomPrompt="0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Текст 4" hidden="0"/>
          <p:cNvSpPr>
            <a:spLocks noGrp="1"/>
          </p:cNvSpPr>
          <p:nvPr isPhoto="0" userDrawn="0">
            <p:ph type="body" sz="quarter" idx="3" hasCustomPrompt="0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8" name="Объект 5" hidden="0"/>
          <p:cNvSpPr>
            <a:spLocks noGrp="1"/>
          </p:cNvSpPr>
          <p:nvPr isPhoto="0" userDrawn="0">
            <p:ph sz="quarter" idx="4" hasCustomPrompt="0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9" name="Дата 6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10" name="Нижний колонтитул 7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1" name="Номер слайда 8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Only" userDrawn="1">
  <p:cSld name="Только заголовок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Дата 2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6" name="Нижний колонтитул 3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4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blank" userDrawn="1">
  <p:cSld name="Пустой слайд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2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3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objTx" userDrawn="1">
  <p:cSld name="Объект с подписью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Объект 2" hidden="0"/>
          <p:cNvSpPr>
            <a:spLocks noGrp="1"/>
          </p:cNvSpPr>
          <p:nvPr isPhoto="0" userDrawn="0">
            <p:ph idx="1" hasCustomPrompt="0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Текст 3" hidden="0"/>
          <p:cNvSpPr>
            <a:spLocks noGrp="1"/>
          </p:cNvSpPr>
          <p:nvPr isPhoto="0" userDrawn="0">
            <p:ph type="body" sz="half" idx="2" hasCustomPrompt="0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8" name="Нижний колонтитул 5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picTx" userDrawn="1">
  <p:cSld name="Рисунок с подписью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Рисунок 2" hidden="0"/>
          <p:cNvSpPr>
            <a:spLocks noGrp="1"/>
          </p:cNvSpPr>
          <p:nvPr isPhoto="0" userDrawn="0">
            <p:ph type="pic" idx="1" hasCustomPrompt="0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6" name="Текст 3" hidden="0"/>
          <p:cNvSpPr>
            <a:spLocks noGrp="1"/>
          </p:cNvSpPr>
          <p:nvPr isPhoto="0" userDrawn="0">
            <p:ph type="body" sz="half" idx="2" hasCustomPrompt="0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 hidden="0"/>
          <p:cNvSpPr>
            <a:spLocks noGrp="1"/>
          </p:cNvSpPr>
          <p:nvPr isPhoto="0" userDrawn="0">
            <p:ph type="dt" sz="half" idx="10" hasCustomPrompt="0"/>
          </p:nvPr>
        </p:nvSpPr>
        <p:spPr bwMode="auto"/>
        <p:txBody>
          <a:bodyPr/>
          <a:lstStyle/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8" name="Нижний колонтитул 5" hidden="0"/>
          <p:cNvSpPr>
            <a:spLocks noGrp="1"/>
          </p:cNvSpPr>
          <p:nvPr isPhoto="0" userDrawn="0">
            <p:ph type="ftr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 hidden="0"/>
          <p:cNvSpPr>
            <a:spLocks noGrp="1"/>
          </p:cNvSpPr>
          <p:nvPr isPhoto="0" userDrawn="0">
            <p:ph type="sldNum" sz="quarter" idx="12" hasCustomPrompt="0"/>
          </p:nvPr>
        </p:nvSpPr>
        <p:spPr bwMode="auto"/>
        <p:txBody>
          <a:bodyPr/>
          <a:lstStyle/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5" name="Текст 2" hidden="0"/>
          <p:cNvSpPr>
            <a:spLocks noGrp="1"/>
          </p:cNvSpPr>
          <p:nvPr isPhoto="0" userDrawn="0">
            <p:ph type="body" idx="1" hasCustomPrompt="0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Дата 3" hidden="0"/>
          <p:cNvSpPr>
            <a:spLocks noGrp="1"/>
          </p:cNvSpPr>
          <p:nvPr isPhoto="0" userDrawn="0">
            <p:ph type="dt" sz="half" idx="2" hasCustomPrompt="0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8523F2-53FE-42F4-86B8-4598D2998874}" type="datetimeFigureOut">
              <a:rPr lang="ru-RU"/>
              <a:t/>
            </a:fld>
            <a:endParaRPr lang="ru-RU"/>
          </a:p>
        </p:txBody>
      </p:sp>
      <p:sp>
        <p:nvSpPr>
          <p:cNvPr id="7" name="Нижний колонтитул 4" hidden="0"/>
          <p:cNvSpPr>
            <a:spLocks noGrp="1"/>
          </p:cNvSpPr>
          <p:nvPr isPhoto="0" userDrawn="0">
            <p:ph type="ftr" sz="quarter" idx="3" hasCustomPrompt="0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 hidden="0"/>
          <p:cNvSpPr>
            <a:spLocks noGrp="1"/>
          </p:cNvSpPr>
          <p:nvPr isPhoto="0" userDrawn="0">
            <p:ph type="sldNum" sz="quarter" idx="4" hasCustomPrompt="0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1697463-1C33-49B9-B1AC-991EFB90EE51}" type="slidenum">
              <a:rPr lang="ru-RU"/>
              <a:t/>
            </a:fld>
            <a:endParaRPr lang="ru-RU"/>
          </a:p>
        </p:txBody>
      </p:sp>
      <p:pic>
        <p:nvPicPr>
          <p:cNvPr id="9" name="Рисунок 14" hidden="0"/>
          <p:cNvPicPr>
            <a:picLocks noChangeAspect="1"/>
          </p:cNvPicPr>
          <p:nvPr isPhoto="0" userDrawn="1"/>
        </p:nvPicPr>
        <p:blipFill>
          <a:blip r:embed="rId14"/>
          <a:stretch/>
        </p:blipFill>
        <p:spPr bwMode="auto">
          <a:xfrm>
            <a:off x="1511" y="0"/>
            <a:ext cx="1757966" cy="640276"/>
          </a:xfrm>
          <a:prstGeom prst="rect">
            <a:avLst/>
          </a:prstGeom>
        </p:spPr>
      </p:pic>
    </p:spTree>
  </p:cSld>
  <p:clrMap accent1="accent1" accent2="accent2" accent3="accent3" accent4="accent4" accent5="accent5" accent6="accent6" bg1="lt1" bg2="lt2" folHlink="folHlink" hlink="hlink" tx1="dk1" tx2="dk2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emf"/><Relationship Id="rId3" Type="http://schemas.openxmlformats.org/officeDocument/2006/relationships/oleObject" Target="../embeddings/oleObject1.bin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.png"/><Relationship Id="rId3" Type="http://schemas.openxmlformats.org/officeDocument/2006/relationships/image" Target="../media/image4.png"/><Relationship Id="rId4" Type="http://schemas.openxmlformats.org/officeDocument/2006/relationships/hyperlink" Target="https://lecta.ru/ksg/" TargetMode="External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5.png"/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image" Target="../media/image4.pn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4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6" Type="http://schemas.openxmlformats.org/officeDocument/2006/relationships/image" Target="../media/image4.pn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3.png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4.png"/><Relationship Id="rId3" Type="http://schemas.openxmlformats.org/officeDocument/2006/relationships/image" Target="../media/image25.png"/><Relationship Id="rId4" Type="http://schemas.openxmlformats.org/officeDocument/2006/relationships/image" Target="../media/image26.png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7.emf"/><Relationship Id="rId3" Type="http://schemas.openxmlformats.org/officeDocument/2006/relationships/oleObject" Target="../embeddings/oleObject2.bin"/><Relationship Id="rId4" Type="http://schemas.openxmlformats.org/officeDocument/2006/relationships/hyperlink" Target="mailto:vopros@prosv.ru" TargetMode="External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6" Type="http://schemas.openxmlformats.org/officeDocument/2006/relationships/image" Target="../media/image2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95" hidden="0"/>
          <p:cNvSpPr/>
          <p:nvPr isPhoto="0" userDrawn="0"/>
        </p:nvSpPr>
        <p:spPr bwMode="auto"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2000" b="1">
              <a:solidFill>
                <a:schemeClr val="accent5">
                  <a:lumMod val="75000"/>
                </a:schemeClr>
              </a:solidFill>
            </a:endParaRPr>
          </a:p>
          <a:p>
            <a:pPr algn="ctr">
              <a:defRPr/>
            </a:pPr>
            <a:r>
              <a:rPr lang="ru-RU" sz="2000" b="1">
                <a:solidFill>
                  <a:schemeClr val="accent5">
                    <a:lumMod val="75000"/>
                  </a:schemeClr>
                </a:solidFill>
              </a:rPr>
              <a:t>К школе готов! Цифровой сервис в помощь педагогам и родителям при подготовке ребёнка к школе</a:t>
            </a:r>
            <a:endParaRPr lang="ru-RU" sz="2000" b="1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" name="Rectangle 7" hidden="0"/>
          <p:cNvSpPr>
            <a:spLocks noChangeArrowheads="1"/>
          </p:cNvSpPr>
          <p:nvPr isPhoto="0" userDrawn="0"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6" name="Rectangle 8" hidden="0"/>
          <p:cNvSpPr>
            <a:spLocks noChangeArrowheads="1"/>
          </p:cNvSpPr>
          <p:nvPr isPhoto="0" userDrawn="0"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7" name="Rectangle 9" hidden="0"/>
          <p:cNvSpPr>
            <a:spLocks noChangeArrowheads="1"/>
          </p:cNvSpPr>
          <p:nvPr isPhoto="0" userDrawn="0"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8" name="Rectangle 11" hidden="0"/>
          <p:cNvSpPr>
            <a:spLocks noChangeArrowheads="1"/>
          </p:cNvSpPr>
          <p:nvPr isPhoto="0" userDrawn="0"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9" name="Rectangle 12" hidden="0"/>
          <p:cNvSpPr>
            <a:spLocks noChangeArrowheads="1"/>
          </p:cNvSpPr>
          <p:nvPr isPhoto="0" userDrawn="0"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0" name="Rectangle 13" hidden="0"/>
          <p:cNvSpPr>
            <a:spLocks noChangeArrowheads="1"/>
          </p:cNvSpPr>
          <p:nvPr isPhoto="0" userDrawn="0"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1" name="Rectangle 15" hidden="0"/>
          <p:cNvSpPr>
            <a:spLocks noChangeArrowheads="1"/>
          </p:cNvSpPr>
          <p:nvPr isPhoto="0" userDrawn="0"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2" name="Rectangle 16" hidden="0"/>
          <p:cNvSpPr>
            <a:spLocks noChangeArrowheads="1"/>
          </p:cNvSpPr>
          <p:nvPr isPhoto="0" userDrawn="0"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3" name="Rectangle 17" hidden="0"/>
          <p:cNvSpPr>
            <a:spLocks noChangeArrowheads="1"/>
          </p:cNvSpPr>
          <p:nvPr isPhoto="0" userDrawn="0"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4" name="Rectangle 18" hidden="0"/>
          <p:cNvSpPr>
            <a:spLocks noChangeArrowheads="1"/>
          </p:cNvSpPr>
          <p:nvPr isPhoto="0" userDrawn="0"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5" name="Rectangle 19" hidden="0"/>
          <p:cNvSpPr>
            <a:spLocks noChangeArrowheads="1"/>
          </p:cNvSpPr>
          <p:nvPr isPhoto="0" userDrawn="0"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6" name="Rectangle 20" hidden="0"/>
          <p:cNvSpPr>
            <a:spLocks noChangeArrowheads="1"/>
          </p:cNvSpPr>
          <p:nvPr isPhoto="0" userDrawn="0"/>
        </p:nvSpPr>
        <p:spPr bwMode="auto">
          <a:xfrm>
            <a:off x="10522918" y="14367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7" name="Rectangle 21" hidden="0"/>
          <p:cNvSpPr>
            <a:spLocks noChangeArrowheads="1"/>
          </p:cNvSpPr>
          <p:nvPr isPhoto="0" userDrawn="0"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8" name="Rectangle 22" hidden="0"/>
          <p:cNvSpPr>
            <a:spLocks noChangeArrowheads="1"/>
          </p:cNvSpPr>
          <p:nvPr isPhoto="0" userDrawn="0"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9" name="Rectangle 23" hidden="0"/>
          <p:cNvSpPr>
            <a:spLocks noChangeArrowheads="1"/>
          </p:cNvSpPr>
          <p:nvPr isPhoto="0" userDrawn="0"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0" name="Rectangle 24" hidden="0"/>
          <p:cNvSpPr>
            <a:spLocks noChangeArrowheads="1"/>
          </p:cNvSpPr>
          <p:nvPr isPhoto="0" userDrawn="0"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1" name="Rectangle 25" hidden="0"/>
          <p:cNvSpPr>
            <a:spLocks noChangeArrowheads="1"/>
          </p:cNvSpPr>
          <p:nvPr isPhoto="0" userDrawn="0"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2" name="Rectangle 26" hidden="0"/>
          <p:cNvSpPr>
            <a:spLocks noChangeArrowheads="1"/>
          </p:cNvSpPr>
          <p:nvPr isPhoto="0" userDrawn="0"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3" name="Rectangle 27" hidden="0"/>
          <p:cNvSpPr>
            <a:spLocks noChangeArrowheads="1"/>
          </p:cNvSpPr>
          <p:nvPr isPhoto="0" userDrawn="0"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4" name="Rectangle 28" hidden="0"/>
          <p:cNvSpPr>
            <a:spLocks noChangeArrowheads="1"/>
          </p:cNvSpPr>
          <p:nvPr isPhoto="0" userDrawn="0"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5" name="Rectangle 29" hidden="0"/>
          <p:cNvSpPr>
            <a:spLocks noChangeArrowheads="1"/>
          </p:cNvSpPr>
          <p:nvPr isPhoto="0" userDrawn="0"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6" name="Freeform 30" hidden="0"/>
          <p:cNvSpPr>
            <a:spLocks noEditPoints="1"/>
          </p:cNvSpPr>
          <p:nvPr isPhoto="0" userDrawn="0"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 fill="norm" stroke="1" extrusionOk="0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7" name="Freeform 31" hidden="0"/>
          <p:cNvSpPr>
            <a:spLocks noEditPoints="1"/>
          </p:cNvSpPr>
          <p:nvPr isPhoto="0" userDrawn="0"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 fill="norm" stroke="1" extrusionOk="0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8" name="Freeform 33" hidden="0"/>
          <p:cNvSpPr>
            <a:spLocks noEditPoints="1"/>
          </p:cNvSpPr>
          <p:nvPr isPhoto="0" userDrawn="0"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 fill="norm" stroke="1" extrusionOk="0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9" name="Rectangle 34" hidden="0"/>
          <p:cNvSpPr>
            <a:spLocks noChangeArrowheads="1"/>
          </p:cNvSpPr>
          <p:nvPr isPhoto="0" userDrawn="0"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0" name="Rectangle 35" hidden="0"/>
          <p:cNvSpPr>
            <a:spLocks noChangeArrowheads="1"/>
          </p:cNvSpPr>
          <p:nvPr isPhoto="0" userDrawn="0"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1" name="Rectangle 36" hidden="0"/>
          <p:cNvSpPr>
            <a:spLocks noChangeArrowheads="1"/>
          </p:cNvSpPr>
          <p:nvPr isPhoto="0" userDrawn="0"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2" name="Freeform 37" hidden="0"/>
          <p:cNvSpPr>
            <a:spLocks noEditPoints="1"/>
          </p:cNvSpPr>
          <p:nvPr isPhoto="0" userDrawn="0"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 fill="norm" stroke="1" extrusionOk="0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3" name="Freeform 38" hidden="0"/>
          <p:cNvSpPr>
            <a:spLocks noEditPoints="1"/>
          </p:cNvSpPr>
          <p:nvPr isPhoto="0" userDrawn="0"/>
        </p:nvSpPr>
        <p:spPr bwMode="auto">
          <a:xfrm>
            <a:off x="11074901" y="1789685"/>
            <a:ext cx="384377" cy="576290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 fill="norm" stroke="1" extrusionOk="0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4" name="Freeform 39" hidden="0"/>
          <p:cNvSpPr>
            <a:spLocks noEditPoints="1"/>
          </p:cNvSpPr>
          <p:nvPr isPhoto="0" userDrawn="0"/>
        </p:nvSpPr>
        <p:spPr bwMode="auto">
          <a:xfrm>
            <a:off x="6540438" y="3077747"/>
            <a:ext cx="588580" cy="492248"/>
          </a:xfrm>
          <a:custGeom>
            <a:avLst/>
            <a:gdLst>
              <a:gd name="T0" fmla="*/ 143 w 859"/>
              <a:gd name="T1" fmla="*/ 0 h 716"/>
              <a:gd name="T2" fmla="*/ 716 w 859"/>
              <a:gd name="T3" fmla="*/ 0 h 716"/>
              <a:gd name="T4" fmla="*/ 859 w 859"/>
              <a:gd name="T5" fmla="*/ 143 h 716"/>
              <a:gd name="T6" fmla="*/ 716 w 859"/>
              <a:gd name="T7" fmla="*/ 287 h 716"/>
              <a:gd name="T8" fmla="*/ 573 w 859"/>
              <a:gd name="T9" fmla="*/ 143 h 716"/>
              <a:gd name="T10" fmla="*/ 644 w 859"/>
              <a:gd name="T11" fmla="*/ 143 h 716"/>
              <a:gd name="T12" fmla="*/ 716 w 859"/>
              <a:gd name="T13" fmla="*/ 215 h 716"/>
              <a:gd name="T14" fmla="*/ 788 w 859"/>
              <a:gd name="T15" fmla="*/ 143 h 716"/>
              <a:gd name="T16" fmla="*/ 716 w 859"/>
              <a:gd name="T17" fmla="*/ 72 h 716"/>
              <a:gd name="T18" fmla="*/ 143 w 859"/>
              <a:gd name="T19" fmla="*/ 72 h 716"/>
              <a:gd name="T20" fmla="*/ 71 w 859"/>
              <a:gd name="T21" fmla="*/ 143 h 716"/>
              <a:gd name="T22" fmla="*/ 143 w 859"/>
              <a:gd name="T23" fmla="*/ 215 h 716"/>
              <a:gd name="T24" fmla="*/ 215 w 859"/>
              <a:gd name="T25" fmla="*/ 143 h 716"/>
              <a:gd name="T26" fmla="*/ 286 w 859"/>
              <a:gd name="T27" fmla="*/ 143 h 716"/>
              <a:gd name="T28" fmla="*/ 143 w 859"/>
              <a:gd name="T29" fmla="*/ 287 h 716"/>
              <a:gd name="T30" fmla="*/ 0 w 859"/>
              <a:gd name="T31" fmla="*/ 143 h 716"/>
              <a:gd name="T32" fmla="*/ 143 w 859"/>
              <a:gd name="T33" fmla="*/ 0 h 716"/>
              <a:gd name="T34" fmla="*/ 465 w 859"/>
              <a:gd name="T35" fmla="*/ 143 h 716"/>
              <a:gd name="T36" fmla="*/ 465 w 859"/>
              <a:gd name="T37" fmla="*/ 573 h 716"/>
              <a:gd name="T38" fmla="*/ 394 w 859"/>
              <a:gd name="T39" fmla="*/ 573 h 716"/>
              <a:gd name="T40" fmla="*/ 394 w 859"/>
              <a:gd name="T41" fmla="*/ 143 h 716"/>
              <a:gd name="T42" fmla="*/ 465 w 859"/>
              <a:gd name="T43" fmla="*/ 143 h 716"/>
              <a:gd name="T44" fmla="*/ 322 w 859"/>
              <a:gd name="T45" fmla="*/ 262 h 716"/>
              <a:gd name="T46" fmla="*/ 322 w 859"/>
              <a:gd name="T47" fmla="*/ 573 h 716"/>
              <a:gd name="T48" fmla="*/ 251 w 859"/>
              <a:gd name="T49" fmla="*/ 573 h 716"/>
              <a:gd name="T50" fmla="*/ 251 w 859"/>
              <a:gd name="T51" fmla="*/ 329 h 716"/>
              <a:gd name="T52" fmla="*/ 322 w 859"/>
              <a:gd name="T53" fmla="*/ 262 h 716"/>
              <a:gd name="T54" fmla="*/ 609 w 859"/>
              <a:gd name="T55" fmla="*/ 329 h 716"/>
              <a:gd name="T56" fmla="*/ 609 w 859"/>
              <a:gd name="T57" fmla="*/ 573 h 716"/>
              <a:gd name="T58" fmla="*/ 537 w 859"/>
              <a:gd name="T59" fmla="*/ 573 h 716"/>
              <a:gd name="T60" fmla="*/ 537 w 859"/>
              <a:gd name="T61" fmla="*/ 262 h 716"/>
              <a:gd name="T62" fmla="*/ 609 w 859"/>
              <a:gd name="T63" fmla="*/ 329 h 716"/>
              <a:gd name="T64" fmla="*/ 716 w 859"/>
              <a:gd name="T65" fmla="*/ 716 h 716"/>
              <a:gd name="T66" fmla="*/ 143 w 859"/>
              <a:gd name="T67" fmla="*/ 716 h 716"/>
              <a:gd name="T68" fmla="*/ 143 w 859"/>
              <a:gd name="T69" fmla="*/ 645 h 716"/>
              <a:gd name="T70" fmla="*/ 716 w 859"/>
              <a:gd name="T71" fmla="*/ 645 h 716"/>
              <a:gd name="T72" fmla="*/ 716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 fill="norm" stroke="1" extrusionOk="0">
                <a:moveTo>
                  <a:pt x="143" y="0"/>
                </a:moveTo>
                <a:lnTo>
                  <a:pt x="716" y="0"/>
                </a:lnTo>
                <a:cubicBezTo>
                  <a:pt x="795" y="0"/>
                  <a:pt x="859" y="64"/>
                  <a:pt x="859" y="143"/>
                </a:cubicBezTo>
                <a:cubicBezTo>
                  <a:pt x="859" y="222"/>
                  <a:pt x="795" y="287"/>
                  <a:pt x="716" y="287"/>
                </a:cubicBezTo>
                <a:cubicBezTo>
                  <a:pt x="637" y="287"/>
                  <a:pt x="573" y="215"/>
                  <a:pt x="573" y="143"/>
                </a:cubicBezTo>
                <a:lnTo>
                  <a:pt x="644" y="143"/>
                </a:lnTo>
                <a:cubicBezTo>
                  <a:pt x="644" y="179"/>
                  <a:pt x="677" y="215"/>
                  <a:pt x="716" y="215"/>
                </a:cubicBezTo>
                <a:cubicBezTo>
                  <a:pt x="755" y="215"/>
                  <a:pt x="788" y="183"/>
                  <a:pt x="788" y="143"/>
                </a:cubicBezTo>
                <a:cubicBezTo>
                  <a:pt x="788" y="104"/>
                  <a:pt x="755" y="72"/>
                  <a:pt x="716" y="72"/>
                </a:cubicBezTo>
                <a:lnTo>
                  <a:pt x="143" y="72"/>
                </a:lnTo>
                <a:cubicBezTo>
                  <a:pt x="104" y="72"/>
                  <a:pt x="71" y="104"/>
                  <a:pt x="71" y="143"/>
                </a:cubicBezTo>
                <a:cubicBezTo>
                  <a:pt x="71" y="183"/>
                  <a:pt x="104" y="215"/>
                  <a:pt x="143" y="215"/>
                </a:cubicBezTo>
                <a:cubicBezTo>
                  <a:pt x="183" y="215"/>
                  <a:pt x="215" y="179"/>
                  <a:pt x="215" y="143"/>
                </a:cubicBezTo>
                <a:lnTo>
                  <a:pt x="286" y="143"/>
                </a:lnTo>
                <a:cubicBezTo>
                  <a:pt x="286" y="215"/>
                  <a:pt x="222" y="287"/>
                  <a:pt x="143" y="287"/>
                </a:cubicBezTo>
                <a:cubicBezTo>
                  <a:pt x="64" y="287"/>
                  <a:pt x="0" y="222"/>
                  <a:pt x="0" y="143"/>
                </a:cubicBezTo>
                <a:cubicBezTo>
                  <a:pt x="0" y="64"/>
                  <a:pt x="64" y="0"/>
                  <a:pt x="143" y="0"/>
                </a:cubicBezTo>
                <a:close/>
                <a:moveTo>
                  <a:pt x="465" y="143"/>
                </a:moveTo>
                <a:lnTo>
                  <a:pt x="465" y="573"/>
                </a:lnTo>
                <a:lnTo>
                  <a:pt x="394" y="573"/>
                </a:lnTo>
                <a:lnTo>
                  <a:pt x="394" y="143"/>
                </a:lnTo>
                <a:lnTo>
                  <a:pt x="465" y="143"/>
                </a:lnTo>
                <a:close/>
                <a:moveTo>
                  <a:pt x="322" y="262"/>
                </a:moveTo>
                <a:lnTo>
                  <a:pt x="322" y="573"/>
                </a:lnTo>
                <a:lnTo>
                  <a:pt x="251" y="573"/>
                </a:lnTo>
                <a:lnTo>
                  <a:pt x="251" y="329"/>
                </a:lnTo>
                <a:cubicBezTo>
                  <a:pt x="286" y="313"/>
                  <a:pt x="286" y="290"/>
                  <a:pt x="322" y="262"/>
                </a:cubicBezTo>
                <a:close/>
                <a:moveTo>
                  <a:pt x="609" y="329"/>
                </a:moveTo>
                <a:lnTo>
                  <a:pt x="609" y="573"/>
                </a:lnTo>
                <a:lnTo>
                  <a:pt x="537" y="573"/>
                </a:lnTo>
                <a:lnTo>
                  <a:pt x="537" y="262"/>
                </a:lnTo>
                <a:cubicBezTo>
                  <a:pt x="573" y="290"/>
                  <a:pt x="573" y="313"/>
                  <a:pt x="609" y="329"/>
                </a:cubicBezTo>
                <a:close/>
                <a:moveTo>
                  <a:pt x="716" y="716"/>
                </a:moveTo>
                <a:lnTo>
                  <a:pt x="143" y="716"/>
                </a:lnTo>
                <a:lnTo>
                  <a:pt x="143" y="645"/>
                </a:lnTo>
                <a:lnTo>
                  <a:pt x="716" y="645"/>
                </a:lnTo>
                <a:lnTo>
                  <a:pt x="716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5" name="Freeform 40" hidden="0"/>
          <p:cNvSpPr>
            <a:spLocks noEditPoints="1"/>
          </p:cNvSpPr>
          <p:nvPr isPhoto="0" userDrawn="0"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 fill="norm" stroke="1" extrusionOk="0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grpSp>
        <p:nvGrpSpPr>
          <p:cNvPr id="36" name="Группа 96" hidden="0"/>
          <p:cNvGrpSpPr/>
          <p:nvPr isPhoto="0" userDrawn="0"/>
        </p:nvGrpSpPr>
        <p:grpSpPr bwMode="auto">
          <a:xfrm>
            <a:off x="636625" y="3005710"/>
            <a:ext cx="546537" cy="591303"/>
            <a:chOff x="477468" y="2705514"/>
            <a:chExt cx="409902" cy="443476"/>
          </a:xfrm>
        </p:grpSpPr>
        <p:sp>
          <p:nvSpPr>
            <p:cNvPr id="37" name="Freeform 42" hidden="0"/>
            <p:cNvSpPr>
              <a:spLocks noEditPoints="1"/>
            </p:cNvSpPr>
            <p:nvPr isPhoto="0" userDrawn="0"/>
          </p:nvSpPr>
          <p:spPr bwMode="auto">
            <a:xfrm>
              <a:off x="477468" y="2705514"/>
              <a:ext cx="409902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 fill="norm" stroke="1" extrusionOk="0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38" name="Rectangle 43" hidden="0"/>
            <p:cNvSpPr>
              <a:spLocks noChangeArrowheads="1"/>
            </p:cNvSpPr>
            <p:nvPr isPhoto="0" userDrawn="0"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</p:grpSp>
      <p:sp>
        <p:nvSpPr>
          <p:cNvPr id="39" name="Freeform 44" hidden="0"/>
          <p:cNvSpPr>
            <a:spLocks noEditPoints="1"/>
          </p:cNvSpPr>
          <p:nvPr isPhoto="0" userDrawn="0"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 fill="norm" stroke="1" extrusionOk="0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0" name="Freeform 45" hidden="0"/>
          <p:cNvSpPr>
            <a:spLocks noEditPoints="1"/>
          </p:cNvSpPr>
          <p:nvPr isPhoto="0" userDrawn="0"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 fill="norm" stroke="1" extrusionOk="0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1" name="Freeform 46" hidden="0"/>
          <p:cNvSpPr>
            <a:spLocks noEditPoints="1"/>
          </p:cNvSpPr>
          <p:nvPr isPhoto="0" userDrawn="0"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 fill="norm" stroke="1" extrusionOk="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2" name="Freeform 47" hidden="0"/>
          <p:cNvSpPr>
            <a:spLocks noEditPoints="1"/>
          </p:cNvSpPr>
          <p:nvPr isPhoto="0" userDrawn="0"/>
        </p:nvSpPr>
        <p:spPr bwMode="auto">
          <a:xfrm>
            <a:off x="3609551" y="3005710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 fill="norm" stroke="1" extrusionOk="0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3" name="Freeform 48" hidden="0"/>
          <p:cNvSpPr>
            <a:spLocks noEditPoints="1"/>
          </p:cNvSpPr>
          <p:nvPr isPhoto="0" userDrawn="0"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 fill="norm" stroke="1" extrusionOk="0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4" name="Freeform 49" hidden="0"/>
          <p:cNvSpPr>
            <a:spLocks noEditPoints="1"/>
          </p:cNvSpPr>
          <p:nvPr isPhoto="0" userDrawn="0"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 fill="norm" stroke="1" extrusionOk="0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5" name="Freeform 50" hidden="0"/>
          <p:cNvSpPr>
            <a:spLocks noEditPoints="1"/>
          </p:cNvSpPr>
          <p:nvPr isPhoto="0" userDrawn="0"/>
        </p:nvSpPr>
        <p:spPr bwMode="auto">
          <a:xfrm>
            <a:off x="9543392" y="3005710"/>
            <a:ext cx="492485" cy="516260"/>
          </a:xfrm>
          <a:custGeom>
            <a:avLst/>
            <a:gdLst>
              <a:gd name="T0" fmla="*/ 485 w 716"/>
              <a:gd name="T1" fmla="*/ 614 h 752"/>
              <a:gd name="T2" fmla="*/ 465 w 716"/>
              <a:gd name="T3" fmla="*/ 624 h 752"/>
              <a:gd name="T4" fmla="*/ 465 w 716"/>
              <a:gd name="T5" fmla="*/ 680 h 752"/>
              <a:gd name="T6" fmla="*/ 394 w 716"/>
              <a:gd name="T7" fmla="*/ 680 h 752"/>
              <a:gd name="T8" fmla="*/ 394 w 716"/>
              <a:gd name="T9" fmla="*/ 483 h 752"/>
              <a:gd name="T10" fmla="*/ 523 w 716"/>
              <a:gd name="T11" fmla="*/ 387 h 752"/>
              <a:gd name="T12" fmla="*/ 480 w 716"/>
              <a:gd name="T13" fmla="*/ 329 h 752"/>
              <a:gd name="T14" fmla="*/ 358 w 716"/>
              <a:gd name="T15" fmla="*/ 421 h 752"/>
              <a:gd name="T16" fmla="*/ 236 w 716"/>
              <a:gd name="T17" fmla="*/ 329 h 752"/>
              <a:gd name="T18" fmla="*/ 193 w 716"/>
              <a:gd name="T19" fmla="*/ 387 h 752"/>
              <a:gd name="T20" fmla="*/ 322 w 716"/>
              <a:gd name="T21" fmla="*/ 483 h 752"/>
              <a:gd name="T22" fmla="*/ 322 w 716"/>
              <a:gd name="T23" fmla="*/ 680 h 752"/>
              <a:gd name="T24" fmla="*/ 250 w 716"/>
              <a:gd name="T25" fmla="*/ 680 h 752"/>
              <a:gd name="T26" fmla="*/ 250 w 716"/>
              <a:gd name="T27" fmla="*/ 624 h 752"/>
              <a:gd name="T28" fmla="*/ 231 w 716"/>
              <a:gd name="T29" fmla="*/ 614 h 752"/>
              <a:gd name="T30" fmla="*/ 71 w 716"/>
              <a:gd name="T31" fmla="*/ 358 h 752"/>
              <a:gd name="T32" fmla="*/ 358 w 716"/>
              <a:gd name="T33" fmla="*/ 71 h 752"/>
              <a:gd name="T34" fmla="*/ 644 w 716"/>
              <a:gd name="T35" fmla="*/ 358 h 752"/>
              <a:gd name="T36" fmla="*/ 485 w 716"/>
              <a:gd name="T37" fmla="*/ 614 h 752"/>
              <a:gd name="T38" fmla="*/ 358 w 716"/>
              <a:gd name="T39" fmla="*/ 0 h 752"/>
              <a:gd name="T40" fmla="*/ 0 w 716"/>
              <a:gd name="T41" fmla="*/ 358 h 752"/>
              <a:gd name="T42" fmla="*/ 179 w 716"/>
              <a:gd name="T43" fmla="*/ 668 h 752"/>
              <a:gd name="T44" fmla="*/ 179 w 716"/>
              <a:gd name="T45" fmla="*/ 752 h 752"/>
              <a:gd name="T46" fmla="*/ 537 w 716"/>
              <a:gd name="T47" fmla="*/ 752 h 752"/>
              <a:gd name="T48" fmla="*/ 537 w 716"/>
              <a:gd name="T49" fmla="*/ 668 h 752"/>
              <a:gd name="T50" fmla="*/ 716 w 716"/>
              <a:gd name="T51" fmla="*/ 358 h 752"/>
              <a:gd name="T52" fmla="*/ 358 w 716"/>
              <a:gd name="T53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6" h="752" fill="norm" stroke="1" extrusionOk="0">
                <a:moveTo>
                  <a:pt x="485" y="614"/>
                </a:moveTo>
                <a:lnTo>
                  <a:pt x="465" y="624"/>
                </a:lnTo>
                <a:lnTo>
                  <a:pt x="465" y="680"/>
                </a:lnTo>
                <a:lnTo>
                  <a:pt x="394" y="680"/>
                </a:lnTo>
                <a:lnTo>
                  <a:pt x="394" y="483"/>
                </a:lnTo>
                <a:lnTo>
                  <a:pt x="523" y="387"/>
                </a:lnTo>
                <a:lnTo>
                  <a:pt x="480" y="329"/>
                </a:lnTo>
                <a:lnTo>
                  <a:pt x="358" y="421"/>
                </a:lnTo>
                <a:lnTo>
                  <a:pt x="236" y="329"/>
                </a:lnTo>
                <a:lnTo>
                  <a:pt x="193" y="387"/>
                </a:lnTo>
                <a:lnTo>
                  <a:pt x="322" y="483"/>
                </a:lnTo>
                <a:lnTo>
                  <a:pt x="322" y="680"/>
                </a:lnTo>
                <a:lnTo>
                  <a:pt x="250" y="680"/>
                </a:lnTo>
                <a:lnTo>
                  <a:pt x="250" y="624"/>
                </a:lnTo>
                <a:lnTo>
                  <a:pt x="231" y="614"/>
                </a:lnTo>
                <a:cubicBezTo>
                  <a:pt x="132" y="566"/>
                  <a:pt x="71" y="467"/>
                  <a:pt x="71" y="358"/>
                </a:cubicBezTo>
                <a:cubicBezTo>
                  <a:pt x="71" y="200"/>
                  <a:pt x="200" y="71"/>
                  <a:pt x="358" y="71"/>
                </a:cubicBezTo>
                <a:cubicBezTo>
                  <a:pt x="516" y="71"/>
                  <a:pt x="644" y="200"/>
                  <a:pt x="644" y="358"/>
                </a:cubicBezTo>
                <a:cubicBezTo>
                  <a:pt x="644" y="467"/>
                  <a:pt x="583" y="566"/>
                  <a:pt x="485" y="614"/>
                </a:cubicBezTo>
                <a:close/>
                <a:moveTo>
                  <a:pt x="358" y="0"/>
                </a:moveTo>
                <a:cubicBezTo>
                  <a:pt x="160" y="0"/>
                  <a:pt x="0" y="160"/>
                  <a:pt x="0" y="358"/>
                </a:cubicBezTo>
                <a:cubicBezTo>
                  <a:pt x="0" y="487"/>
                  <a:pt x="68" y="604"/>
                  <a:pt x="179" y="668"/>
                </a:cubicBezTo>
                <a:lnTo>
                  <a:pt x="179" y="752"/>
                </a:lnTo>
                <a:lnTo>
                  <a:pt x="537" y="752"/>
                </a:lnTo>
                <a:lnTo>
                  <a:pt x="537" y="668"/>
                </a:lnTo>
                <a:cubicBezTo>
                  <a:pt x="648" y="604"/>
                  <a:pt x="716" y="487"/>
                  <a:pt x="716" y="358"/>
                </a:cubicBezTo>
                <a:cubicBezTo>
                  <a:pt x="716" y="160"/>
                  <a:pt x="555" y="0"/>
                  <a:pt x="3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6" name="Rectangle 51" hidden="0"/>
          <p:cNvSpPr>
            <a:spLocks noChangeArrowheads="1"/>
          </p:cNvSpPr>
          <p:nvPr isPhoto="0" userDrawn="0"/>
        </p:nvSpPr>
        <p:spPr bwMode="auto">
          <a:xfrm>
            <a:off x="9666515" y="3569995"/>
            <a:ext cx="246243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7" name="Freeform 52" hidden="0"/>
          <p:cNvSpPr>
            <a:spLocks noEditPoints="1"/>
          </p:cNvSpPr>
          <p:nvPr isPhoto="0" userDrawn="0"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 fill="norm" stroke="1" extrusionOk="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8" name="Freeform 53" hidden="0"/>
          <p:cNvSpPr>
            <a:spLocks noEditPoints="1"/>
          </p:cNvSpPr>
          <p:nvPr isPhoto="0" userDrawn="0"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 fill="norm" stroke="1" extrusionOk="0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9" name="Freeform 54" hidden="0"/>
          <p:cNvSpPr>
            <a:spLocks noEditPoints="1"/>
          </p:cNvSpPr>
          <p:nvPr isPhoto="0" userDrawn="0"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 fill="norm" stroke="1" extrusionOk="0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50" name="Freeform 55" hidden="0"/>
          <p:cNvSpPr>
            <a:spLocks noEditPoints="1"/>
          </p:cNvSpPr>
          <p:nvPr isPhoto="0" userDrawn="0"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 fill="norm" stroke="1" extrusionOk="0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grpSp>
        <p:nvGrpSpPr>
          <p:cNvPr id="51" name="Группа 94" hidden="0"/>
          <p:cNvGrpSpPr/>
          <p:nvPr isPhoto="0" userDrawn="0"/>
        </p:nvGrpSpPr>
        <p:grpSpPr bwMode="auto"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52" name="Freeform 56" hidden="0"/>
            <p:cNvSpPr/>
            <p:nvPr isPhoto="0" userDrawn="0"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 fill="norm" stroke="1" extrusionOk="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3" name="Freeform 57" hidden="0"/>
            <p:cNvSpPr/>
            <p:nvPr isPhoto="0" userDrawn="0"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 fill="norm" stroke="1" extrusionOk="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4" name="Freeform 58" hidden="0"/>
            <p:cNvSpPr/>
            <p:nvPr isPhoto="0" userDrawn="0"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 fill="norm" stroke="1" extrusionOk="0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5" name="Freeform 59" hidden="0"/>
            <p:cNvSpPr>
              <a:spLocks noEditPoints="1"/>
            </p:cNvSpPr>
            <p:nvPr isPhoto="0" userDrawn="0"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 fill="norm" stroke="1" extrusionOk="0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6" name="Freeform 60" hidden="0"/>
            <p:cNvSpPr>
              <a:spLocks noEditPoints="1"/>
            </p:cNvSpPr>
            <p:nvPr isPhoto="0" userDrawn="0"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 fill="norm" stroke="1" extrusionOk="0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7" name="Freeform 61" hidden="0"/>
            <p:cNvSpPr/>
            <p:nvPr isPhoto="0" userDrawn="0"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 fill="norm" stroke="1" extrusionOk="0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8" name="Freeform 62" hidden="0"/>
            <p:cNvSpPr>
              <a:spLocks noEditPoints="1"/>
            </p:cNvSpPr>
            <p:nvPr isPhoto="0" userDrawn="0"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 fill="norm" stroke="1" extrusionOk="0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59" name="Freeform 63" hidden="0"/>
            <p:cNvSpPr/>
            <p:nvPr isPhoto="0" userDrawn="0"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 fill="norm" stroke="1" extrusionOk="0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60" name="Freeform 64" hidden="0"/>
            <p:cNvSpPr/>
            <p:nvPr isPhoto="0" userDrawn="0"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 fill="norm" stroke="1" extrusionOk="0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61" name="Freeform 65" hidden="0"/>
            <p:cNvSpPr/>
            <p:nvPr isPhoto="0" userDrawn="0"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 fill="norm" stroke="1" extrusionOk="0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62" name="Freeform 66" hidden="0"/>
            <p:cNvSpPr/>
            <p:nvPr isPhoto="0" userDrawn="0"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 fill="norm" stroke="1" extrusionOk="0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63" name="Freeform 67" hidden="0"/>
            <p:cNvSpPr/>
            <p:nvPr isPhoto="0" userDrawn="0"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 fill="norm" stroke="1" extrusionOk="0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64" name="Freeform 68" hidden="0"/>
            <p:cNvSpPr/>
            <p:nvPr isPhoto="0" userDrawn="0"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 fill="norm" stroke="1" extrusionOk="0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65" name="Freeform 69" hidden="0"/>
            <p:cNvSpPr>
              <a:spLocks noEditPoints="1"/>
            </p:cNvSpPr>
            <p:nvPr isPhoto="0" userDrawn="0"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 fill="norm" stroke="1" extrusionOk="0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</p:grpSp>
      <p:sp>
        <p:nvSpPr>
          <p:cNvPr id="66" name="Freeform 71" hidden="0"/>
          <p:cNvSpPr>
            <a:spLocks noEditPoints="1"/>
          </p:cNvSpPr>
          <p:nvPr isPhoto="0" userDrawn="0"/>
        </p:nvSpPr>
        <p:spPr bwMode="auto">
          <a:xfrm>
            <a:off x="6540438" y="532048"/>
            <a:ext cx="588580" cy="576290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 fill="norm" stroke="1" extrusionOk="0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67" name="" hidden="0"/>
                  <p:cNvPicPr/>
                  <p:nvPr isPhoto="0" userDrawn="0"/>
                </p:nvPicPr>
                <p:blipFill>
                  <a:blip r:embed="rId2"/>
                  <a:stretch/>
                </p:blipFill>
                <p:spPr bwMode="auto">
                  <a:xfrm>
                    <a:off x="1589" y="1589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68" name="AutoShape 4" hidden="0"/>
          <p:cNvSpPr>
            <a:spLocks noChangeArrowheads="1" noChangeAspect="1" noTextEdit="1"/>
          </p:cNvSpPr>
          <p:nvPr isPhoto="0" userDrawn="0"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>
              <a:solidFill>
                <a:schemeClr val="bg1"/>
              </a:solidFill>
            </a:endParaRPr>
          </a:p>
        </p:txBody>
      </p:sp>
      <p:sp>
        <p:nvSpPr>
          <p:cNvPr id="69" name="TextBox 25" hidden="0"/>
          <p:cNvSpPr>
            <a:spLocks noAdjustHandles="0" noChangeArrowheads="0"/>
          </p:cNvSpPr>
          <p:nvPr isPhoto="0" userDrawn="0"/>
        </p:nvSpPr>
        <p:spPr bwMode="auto"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2</a:t>
            </a:r>
            <a:r>
              <a:rPr lang="ru-RU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3 </a:t>
            </a:r>
            <a:r>
              <a:rPr lang="ru-RU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г.</a:t>
            </a:r>
            <a:endParaRPr/>
          </a:p>
        </p:txBody>
      </p:sp>
      <p:sp>
        <p:nvSpPr>
          <p:cNvPr id="70" name="Rectangle 11" hidden="0"/>
          <p:cNvSpPr>
            <a:spLocks noChangeArrowheads="1"/>
          </p:cNvSpPr>
          <p:nvPr isPhoto="0" userDrawn="0"/>
        </p:nvSpPr>
        <p:spPr bwMode="auto">
          <a:xfrm>
            <a:off x="9027441" y="144201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71" name="Rectangle 15" hidden="0"/>
          <p:cNvSpPr>
            <a:spLocks noChangeArrowheads="1"/>
          </p:cNvSpPr>
          <p:nvPr isPhoto="0" userDrawn="0"/>
        </p:nvSpPr>
        <p:spPr bwMode="auto">
          <a:xfrm>
            <a:off x="7555431" y="1436755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72" name="Freeform 49" hidden="0"/>
          <p:cNvSpPr>
            <a:spLocks noEditPoints="1"/>
          </p:cNvSpPr>
          <p:nvPr isPhoto="0" userDrawn="0"/>
        </p:nvSpPr>
        <p:spPr bwMode="auto">
          <a:xfrm>
            <a:off x="9563843" y="1762930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 fill="norm" stroke="1" extrusionOk="0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73" name="Freeform 55" hidden="0"/>
          <p:cNvSpPr>
            <a:spLocks noEditPoints="1"/>
          </p:cNvSpPr>
          <p:nvPr isPhoto="0" userDrawn="0"/>
        </p:nvSpPr>
        <p:spPr bwMode="auto">
          <a:xfrm>
            <a:off x="7999867" y="1795187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 fill="norm" stroke="1" extrusionOk="0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Box 1" hidden="0"/>
          <p:cNvSpPr>
            <a:spLocks noAdjustHandles="0" noChangeArrowheads="0"/>
          </p:cNvSpPr>
          <p:nvPr isPhoto="0" userDrawn="0"/>
        </p:nvSpPr>
        <p:spPr bwMode="auto">
          <a:xfrm>
            <a:off x="1870841" y="262582"/>
            <a:ext cx="8124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>
                <a:solidFill>
                  <a:srgbClr val="002060"/>
                </a:solidFill>
              </a:rPr>
              <a:t>С</a:t>
            </a:r>
            <a:r>
              <a:rPr lang="ru-RU" sz="2400" b="1">
                <a:solidFill>
                  <a:srgbClr val="002060"/>
                </a:solidFill>
              </a:rPr>
              <a:t>ервис «К школе готов» </a:t>
            </a:r>
            <a:endParaRPr lang="ru-RU" sz="2400" b="1">
              <a:solidFill>
                <a:srgbClr val="002060"/>
              </a:solidFill>
            </a:endParaRPr>
          </a:p>
        </p:txBody>
      </p:sp>
      <p:pic>
        <p:nvPicPr>
          <p:cNvPr id="5" name="Рисунок 3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>
            <a:off x="243264" y="1079890"/>
            <a:ext cx="8669507" cy="4505899"/>
          </a:xfrm>
          <a:prstGeom prst="rect">
            <a:avLst/>
          </a:prstGeom>
        </p:spPr>
      </p:pic>
      <p:pic>
        <p:nvPicPr>
          <p:cNvPr id="6" name="Picture 2" descr="http://disk.yandex.net/qr/?clean=1&amp;text=https://clck.ru/gwDep" hidden="0"/>
          <p:cNvPicPr>
            <a:picLocks noChangeAspect="1" noChangeArrowheads="1"/>
          </p:cNvPicPr>
          <p:nvPr isPhoto="0" userDrawn="0"/>
        </p:nvPicPr>
        <p:blipFill>
          <a:blip r:embed="rId3"/>
          <a:stretch/>
        </p:blipFill>
        <p:spPr bwMode="auto">
          <a:xfrm>
            <a:off x="10371630" y="724247"/>
            <a:ext cx="1190625" cy="1190625"/>
          </a:xfrm>
          <a:prstGeom prst="rect">
            <a:avLst/>
          </a:prstGeom>
          <a:noFill/>
        </p:spPr>
      </p:pic>
      <p:sp>
        <p:nvSpPr>
          <p:cNvPr id="7" name="Прямоугольник 7" hidden="0"/>
          <p:cNvSpPr/>
          <p:nvPr isPhoto="0" userDrawn="0"/>
        </p:nvSpPr>
        <p:spPr bwMode="auto">
          <a:xfrm>
            <a:off x="3063765" y="616845"/>
            <a:ext cx="21066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u="sng">
                <a:solidFill>
                  <a:srgbClr val="1F497D"/>
                </a:solidFill>
                <a:latin typeface="Calibri"/>
                <a:ea typeface="Calibri"/>
                <a:hlinkClick r:id="rId4" tooltip="https://lecta.ru/ksg/"/>
              </a:rPr>
              <a:t>https://lecta.ru/ksg/</a:t>
            </a:r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Box 1" hidden="0"/>
          <p:cNvSpPr>
            <a:spLocks noAdjustHandles="0" noChangeArrowheads="0"/>
          </p:cNvSpPr>
          <p:nvPr isPhoto="0" userDrawn="0"/>
        </p:nvSpPr>
        <p:spPr bwMode="auto">
          <a:xfrm>
            <a:off x="1891862" y="304800"/>
            <a:ext cx="8124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>
                <a:solidFill>
                  <a:srgbClr val="002060"/>
                </a:solidFill>
              </a:rPr>
              <a:t>Личный кабинет</a:t>
            </a:r>
            <a:endParaRPr lang="ru-RU" sz="2400" b="1">
              <a:solidFill>
                <a:srgbClr val="002060"/>
              </a:solidFill>
            </a:endParaRPr>
          </a:p>
        </p:txBody>
      </p:sp>
      <p:pic>
        <p:nvPicPr>
          <p:cNvPr id="5" name="Рисунок 5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>
            <a:off x="2305706" y="1751417"/>
            <a:ext cx="5057775" cy="819150"/>
          </a:xfrm>
          <a:prstGeom prst="rect">
            <a:avLst/>
          </a:prstGeom>
        </p:spPr>
      </p:pic>
      <p:pic>
        <p:nvPicPr>
          <p:cNvPr id="6" name="Рисунок 6" hidden="0"/>
          <p:cNvPicPr>
            <a:picLocks noChangeAspect="1"/>
          </p:cNvPicPr>
          <p:nvPr isPhoto="0" userDrawn="0"/>
        </p:nvPicPr>
        <p:blipFill>
          <a:blip r:embed="rId3"/>
          <a:srcRect l="6218" t="0" r="7400" b="0"/>
          <a:stretch/>
        </p:blipFill>
        <p:spPr bwMode="auto">
          <a:xfrm>
            <a:off x="6274676" y="3454845"/>
            <a:ext cx="3069021" cy="1400175"/>
          </a:xfrm>
          <a:prstGeom prst="rect">
            <a:avLst/>
          </a:prstGeom>
        </p:spPr>
      </p:pic>
      <p:pic>
        <p:nvPicPr>
          <p:cNvPr id="7" name="Рисунок 8" hidden="0"/>
          <p:cNvPicPr>
            <a:picLocks noChangeAspect="1"/>
          </p:cNvPicPr>
          <p:nvPr isPhoto="0" userDrawn="0"/>
        </p:nvPicPr>
        <p:blipFill>
          <a:blip r:embed="rId4"/>
          <a:stretch/>
        </p:blipFill>
        <p:spPr bwMode="auto">
          <a:xfrm>
            <a:off x="519769" y="4163573"/>
            <a:ext cx="3038475" cy="1095375"/>
          </a:xfrm>
          <a:prstGeom prst="rect">
            <a:avLst/>
          </a:prstGeom>
        </p:spPr>
      </p:pic>
      <p:pic>
        <p:nvPicPr>
          <p:cNvPr id="8" name="Рисунок 9" hidden="0"/>
          <p:cNvPicPr>
            <a:picLocks noChangeAspect="1"/>
          </p:cNvPicPr>
          <p:nvPr isPhoto="0" userDrawn="0"/>
        </p:nvPicPr>
        <p:blipFill>
          <a:blip r:embed="rId5"/>
          <a:stretch/>
        </p:blipFill>
        <p:spPr bwMode="auto">
          <a:xfrm>
            <a:off x="361458" y="925566"/>
            <a:ext cx="10325100" cy="666750"/>
          </a:xfrm>
          <a:prstGeom prst="rect">
            <a:avLst/>
          </a:prstGeom>
        </p:spPr>
      </p:pic>
      <p:cxnSp>
        <p:nvCxnSpPr>
          <p:cNvPr id="9" name="Прямая со стрелкой 15" hidden="0"/>
          <p:cNvCxnSpPr>
            <a:cxnSpLocks/>
          </p:cNvCxnSpPr>
          <p:nvPr isPhoto="0" userDrawn="0"/>
        </p:nvCxnSpPr>
        <p:spPr bwMode="auto">
          <a:xfrm>
            <a:off x="5034455" y="2392253"/>
            <a:ext cx="2595725" cy="106259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17" hidden="0"/>
          <p:cNvCxnSpPr>
            <a:cxnSpLocks/>
            <a:endCxn id="7" idx="0"/>
          </p:cNvCxnSpPr>
          <p:nvPr isPhoto="0" userDrawn="0"/>
        </p:nvCxnSpPr>
        <p:spPr bwMode="auto">
          <a:xfrm flipH="1">
            <a:off x="2039007" y="2392253"/>
            <a:ext cx="1336497" cy="177132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20" hidden="0"/>
          <p:cNvPicPr>
            <a:picLocks noChangeAspect="1"/>
          </p:cNvPicPr>
          <p:nvPr isPhoto="0" userDrawn="0"/>
        </p:nvPicPr>
        <p:blipFill>
          <a:blip r:embed="rId6"/>
          <a:srcRect l="0" t="0" r="0" b="51791"/>
          <a:stretch/>
        </p:blipFill>
        <p:spPr bwMode="auto">
          <a:xfrm>
            <a:off x="519769" y="5258947"/>
            <a:ext cx="9744075" cy="353577"/>
          </a:xfrm>
          <a:prstGeom prst="rect">
            <a:avLst/>
          </a:prstGeom>
        </p:spPr>
      </p:pic>
      <p:pic>
        <p:nvPicPr>
          <p:cNvPr id="12" name="Рисунок 2" hidden="0"/>
          <p:cNvPicPr>
            <a:picLocks noChangeAspect="1"/>
          </p:cNvPicPr>
          <p:nvPr isPhoto="0" userDrawn="0"/>
        </p:nvPicPr>
        <p:blipFill>
          <a:blip r:embed="rId7"/>
          <a:stretch/>
        </p:blipFill>
        <p:spPr bwMode="auto">
          <a:xfrm>
            <a:off x="2039006" y="4310325"/>
            <a:ext cx="762000" cy="257175"/>
          </a:xfrm>
          <a:prstGeom prst="rect">
            <a:avLst/>
          </a:prstGeom>
        </p:spPr>
      </p:pic>
      <p:pic>
        <p:nvPicPr>
          <p:cNvPr id="13" name="Рисунок 3" hidden="0"/>
          <p:cNvPicPr>
            <a:picLocks noChangeAspect="1"/>
          </p:cNvPicPr>
          <p:nvPr isPhoto="0" userDrawn="0"/>
        </p:nvPicPr>
        <p:blipFill>
          <a:blip r:embed="rId7"/>
          <a:stretch/>
        </p:blipFill>
        <p:spPr bwMode="auto">
          <a:xfrm>
            <a:off x="2420006" y="4328286"/>
            <a:ext cx="762000" cy="257175"/>
          </a:xfrm>
          <a:prstGeom prst="rect">
            <a:avLst/>
          </a:prstGeom>
        </p:spPr>
      </p:pic>
      <p:pic>
        <p:nvPicPr>
          <p:cNvPr id="14" name="Picture 2" descr="http://disk.yandex.net/qr/?clean=1&amp;text=https://clck.ru/gwDep" hidden="0"/>
          <p:cNvPicPr>
            <a:picLocks noChangeAspect="1" noChangeArrowheads="1"/>
          </p:cNvPicPr>
          <p:nvPr isPhoto="0" userDrawn="0"/>
        </p:nvPicPr>
        <p:blipFill>
          <a:blip r:embed="rId8"/>
          <a:stretch/>
        </p:blipFill>
        <p:spPr bwMode="auto">
          <a:xfrm>
            <a:off x="10371630" y="724247"/>
            <a:ext cx="1190625" cy="119062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Box 1" hidden="0"/>
          <p:cNvSpPr>
            <a:spLocks noAdjustHandles="0" noChangeArrowheads="0"/>
          </p:cNvSpPr>
          <p:nvPr isPhoto="0" userDrawn="0"/>
        </p:nvSpPr>
        <p:spPr bwMode="auto">
          <a:xfrm>
            <a:off x="1891862" y="304800"/>
            <a:ext cx="8124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>
                <a:solidFill>
                  <a:srgbClr val="002060"/>
                </a:solidFill>
              </a:rPr>
              <a:t>Взрослым о детях</a:t>
            </a:r>
            <a:endParaRPr/>
          </a:p>
        </p:txBody>
      </p:sp>
      <p:pic>
        <p:nvPicPr>
          <p:cNvPr id="5" name="Рисунок 2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>
            <a:off x="381328" y="837872"/>
            <a:ext cx="9810750" cy="704850"/>
          </a:xfrm>
          <a:prstGeom prst="rect">
            <a:avLst/>
          </a:prstGeom>
        </p:spPr>
      </p:pic>
      <p:pic>
        <p:nvPicPr>
          <p:cNvPr id="6" name="Рисунок 5" hidden="0"/>
          <p:cNvPicPr>
            <a:picLocks noChangeAspect="1"/>
          </p:cNvPicPr>
          <p:nvPr isPhoto="0" userDrawn="0"/>
        </p:nvPicPr>
        <p:blipFill>
          <a:blip r:embed="rId3"/>
          <a:srcRect l="0" t="12255" r="0" b="0"/>
          <a:stretch/>
        </p:blipFill>
        <p:spPr bwMode="auto">
          <a:xfrm>
            <a:off x="1022459" y="1543379"/>
            <a:ext cx="3067050" cy="618468"/>
          </a:xfrm>
          <a:prstGeom prst="rect">
            <a:avLst/>
          </a:prstGeom>
        </p:spPr>
      </p:pic>
      <p:pic>
        <p:nvPicPr>
          <p:cNvPr id="7" name="Рисунок 6" hidden="0"/>
          <p:cNvPicPr>
            <a:picLocks noChangeAspect="1"/>
          </p:cNvPicPr>
          <p:nvPr isPhoto="0" userDrawn="0"/>
        </p:nvPicPr>
        <p:blipFill>
          <a:blip r:embed="rId4"/>
          <a:stretch/>
        </p:blipFill>
        <p:spPr bwMode="auto">
          <a:xfrm>
            <a:off x="7642006" y="1542722"/>
            <a:ext cx="1533525" cy="619125"/>
          </a:xfrm>
          <a:prstGeom prst="rect">
            <a:avLst/>
          </a:prstGeom>
        </p:spPr>
      </p:pic>
      <p:pic>
        <p:nvPicPr>
          <p:cNvPr id="8" name="Рисунок 7" hidden="0"/>
          <p:cNvPicPr>
            <a:picLocks noChangeAspect="1"/>
          </p:cNvPicPr>
          <p:nvPr isPhoto="0" userDrawn="0"/>
        </p:nvPicPr>
        <p:blipFill>
          <a:blip r:embed="rId5"/>
          <a:stretch/>
        </p:blipFill>
        <p:spPr bwMode="auto">
          <a:xfrm>
            <a:off x="100833" y="2161847"/>
            <a:ext cx="5574753" cy="2400397"/>
          </a:xfrm>
          <a:prstGeom prst="rect">
            <a:avLst/>
          </a:prstGeom>
        </p:spPr>
      </p:pic>
      <p:pic>
        <p:nvPicPr>
          <p:cNvPr id="9" name="Рисунок 8" hidden="0"/>
          <p:cNvPicPr>
            <a:picLocks noChangeAspect="1"/>
          </p:cNvPicPr>
          <p:nvPr isPhoto="0" userDrawn="0"/>
        </p:nvPicPr>
        <p:blipFill>
          <a:blip r:embed="rId6"/>
          <a:stretch/>
        </p:blipFill>
        <p:spPr bwMode="auto">
          <a:xfrm>
            <a:off x="100833" y="4562244"/>
            <a:ext cx="5574753" cy="1713851"/>
          </a:xfrm>
          <a:prstGeom prst="rect">
            <a:avLst/>
          </a:prstGeom>
        </p:spPr>
      </p:pic>
      <p:pic>
        <p:nvPicPr>
          <p:cNvPr id="10" name="Рисунок 9" hidden="0"/>
          <p:cNvPicPr>
            <a:picLocks noChangeAspect="1"/>
          </p:cNvPicPr>
          <p:nvPr isPhoto="0" userDrawn="0"/>
        </p:nvPicPr>
        <p:blipFill>
          <a:blip r:embed="rId7"/>
          <a:stretch/>
        </p:blipFill>
        <p:spPr bwMode="auto">
          <a:xfrm>
            <a:off x="5790871" y="2165131"/>
            <a:ext cx="6306826" cy="2397113"/>
          </a:xfrm>
          <a:prstGeom prst="rect">
            <a:avLst/>
          </a:prstGeom>
        </p:spPr>
      </p:pic>
      <p:pic>
        <p:nvPicPr>
          <p:cNvPr id="11" name="Picture 2" descr="http://disk.yandex.net/qr/?clean=1&amp;text=https://clck.ru/gwDep" hidden="0"/>
          <p:cNvPicPr>
            <a:picLocks noChangeAspect="1" noChangeArrowheads="1"/>
          </p:cNvPicPr>
          <p:nvPr isPhoto="0" userDrawn="0"/>
        </p:nvPicPr>
        <p:blipFill>
          <a:blip r:embed="rId8"/>
          <a:stretch/>
        </p:blipFill>
        <p:spPr bwMode="auto">
          <a:xfrm>
            <a:off x="10371630" y="724247"/>
            <a:ext cx="1190625" cy="119062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Box 2" hidden="0"/>
          <p:cNvSpPr>
            <a:spLocks noAdjustHandles="0" noChangeArrowheads="0"/>
          </p:cNvSpPr>
          <p:nvPr isPhoto="0" userDrawn="0"/>
        </p:nvSpPr>
        <p:spPr bwMode="auto">
          <a:xfrm>
            <a:off x="1891862" y="304800"/>
            <a:ext cx="8124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>
                <a:solidFill>
                  <a:srgbClr val="002060"/>
                </a:solidFill>
              </a:rPr>
              <a:t>Каталог заданий</a:t>
            </a:r>
            <a:endParaRPr lang="ru-RU" sz="2400" b="1">
              <a:solidFill>
                <a:srgbClr val="002060"/>
              </a:solidFill>
            </a:endParaRPr>
          </a:p>
        </p:txBody>
      </p:sp>
      <p:pic>
        <p:nvPicPr>
          <p:cNvPr id="5" name="Рисунок 4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>
            <a:off x="353245" y="850252"/>
            <a:ext cx="9572625" cy="657225"/>
          </a:xfrm>
          <a:prstGeom prst="rect">
            <a:avLst/>
          </a:prstGeom>
        </p:spPr>
      </p:pic>
      <p:pic>
        <p:nvPicPr>
          <p:cNvPr id="6" name="Рисунок 5" hidden="0"/>
          <p:cNvPicPr>
            <a:picLocks noChangeAspect="1"/>
          </p:cNvPicPr>
          <p:nvPr isPhoto="0" userDrawn="0"/>
        </p:nvPicPr>
        <p:blipFill>
          <a:blip r:embed="rId3"/>
          <a:stretch/>
        </p:blipFill>
        <p:spPr bwMode="auto">
          <a:xfrm>
            <a:off x="353245" y="1507477"/>
            <a:ext cx="9572625" cy="3596104"/>
          </a:xfrm>
          <a:prstGeom prst="rect">
            <a:avLst/>
          </a:prstGeom>
        </p:spPr>
      </p:pic>
      <p:pic>
        <p:nvPicPr>
          <p:cNvPr id="7" name="Picture 2" descr="http://disk.yandex.net/qr/?clean=1&amp;text=https://clck.ru/gwDep" hidden="0"/>
          <p:cNvPicPr>
            <a:picLocks noChangeAspect="1" noChangeArrowheads="1"/>
          </p:cNvPicPr>
          <p:nvPr isPhoto="0" userDrawn="0"/>
        </p:nvPicPr>
        <p:blipFill>
          <a:blip r:embed="rId4"/>
          <a:stretch/>
        </p:blipFill>
        <p:spPr bwMode="auto">
          <a:xfrm>
            <a:off x="10371630" y="724247"/>
            <a:ext cx="1190625" cy="119062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Box 2" hidden="0"/>
          <p:cNvSpPr>
            <a:spLocks noAdjustHandles="0" noChangeArrowheads="0"/>
          </p:cNvSpPr>
          <p:nvPr isPhoto="0" userDrawn="0"/>
        </p:nvSpPr>
        <p:spPr bwMode="auto">
          <a:xfrm>
            <a:off x="1891862" y="304800"/>
            <a:ext cx="8124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>
                <a:solidFill>
                  <a:srgbClr val="002060"/>
                </a:solidFill>
              </a:rPr>
              <a:t>Задания</a:t>
            </a:r>
            <a:endParaRPr lang="ru-RU" sz="2400" b="1">
              <a:solidFill>
                <a:srgbClr val="002060"/>
              </a:solidFill>
            </a:endParaRPr>
          </a:p>
        </p:txBody>
      </p:sp>
      <p:pic>
        <p:nvPicPr>
          <p:cNvPr id="5" name="Рисунок 1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>
            <a:off x="181467" y="1011620"/>
            <a:ext cx="7877175" cy="609600"/>
          </a:xfrm>
          <a:prstGeom prst="rect">
            <a:avLst/>
          </a:prstGeom>
        </p:spPr>
      </p:pic>
      <p:pic>
        <p:nvPicPr>
          <p:cNvPr id="6" name="Рисунок 6" hidden="0"/>
          <p:cNvPicPr>
            <a:picLocks noChangeAspect="1"/>
          </p:cNvPicPr>
          <p:nvPr isPhoto="0" userDrawn="0"/>
        </p:nvPicPr>
        <p:blipFill>
          <a:blip r:embed="rId3"/>
          <a:stretch/>
        </p:blipFill>
        <p:spPr bwMode="auto">
          <a:xfrm>
            <a:off x="181467" y="1621220"/>
            <a:ext cx="3257550" cy="704850"/>
          </a:xfrm>
          <a:prstGeom prst="rect">
            <a:avLst/>
          </a:prstGeom>
        </p:spPr>
      </p:pic>
      <p:pic>
        <p:nvPicPr>
          <p:cNvPr id="7" name="Рисунок 7" hidden="0"/>
          <p:cNvPicPr>
            <a:picLocks noChangeAspect="1"/>
          </p:cNvPicPr>
          <p:nvPr isPhoto="0" userDrawn="0"/>
        </p:nvPicPr>
        <p:blipFill>
          <a:blip r:embed="rId4"/>
          <a:stretch/>
        </p:blipFill>
        <p:spPr bwMode="auto">
          <a:xfrm>
            <a:off x="3439017" y="1621220"/>
            <a:ext cx="4619625" cy="704850"/>
          </a:xfrm>
          <a:prstGeom prst="rect">
            <a:avLst/>
          </a:prstGeom>
        </p:spPr>
      </p:pic>
      <p:cxnSp>
        <p:nvCxnSpPr>
          <p:cNvPr id="8" name="Прямая со стрелкой 9" hidden="0"/>
          <p:cNvCxnSpPr>
            <a:cxnSpLocks/>
          </p:cNvCxnSpPr>
          <p:nvPr isPhoto="0" userDrawn="0"/>
        </p:nvCxnSpPr>
        <p:spPr bwMode="auto">
          <a:xfrm flipH="1" flipV="1">
            <a:off x="6926318" y="1621221"/>
            <a:ext cx="415158" cy="122314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13" hidden="0"/>
          <p:cNvCxnSpPr>
            <a:cxnSpLocks/>
          </p:cNvCxnSpPr>
          <p:nvPr isPhoto="0" userDrawn="0"/>
        </p:nvCxnSpPr>
        <p:spPr bwMode="auto">
          <a:xfrm flipH="1" flipV="1">
            <a:off x="641132" y="2249216"/>
            <a:ext cx="893378" cy="59514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19" hidden="0"/>
          <p:cNvPicPr>
            <a:picLocks noChangeAspect="1"/>
          </p:cNvPicPr>
          <p:nvPr isPhoto="0" userDrawn="0"/>
        </p:nvPicPr>
        <p:blipFill>
          <a:blip r:embed="rId5"/>
          <a:stretch/>
        </p:blipFill>
        <p:spPr bwMode="auto">
          <a:xfrm>
            <a:off x="3368401" y="3307728"/>
            <a:ext cx="2786227" cy="3473413"/>
          </a:xfrm>
          <a:prstGeom prst="rect">
            <a:avLst/>
          </a:prstGeom>
        </p:spPr>
      </p:pic>
      <p:cxnSp>
        <p:nvCxnSpPr>
          <p:cNvPr id="11" name="Прямая со стрелкой 21" hidden="0"/>
          <p:cNvCxnSpPr>
            <a:cxnSpLocks/>
          </p:cNvCxnSpPr>
          <p:nvPr isPhoto="0" userDrawn="0"/>
        </p:nvCxnSpPr>
        <p:spPr bwMode="auto">
          <a:xfrm>
            <a:off x="2972787" y="4824248"/>
            <a:ext cx="1231351" cy="90389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24" hidden="0"/>
          <p:cNvSpPr/>
          <p:nvPr isPhoto="0" userDrawn="0"/>
        </p:nvSpPr>
        <p:spPr bwMode="auto">
          <a:xfrm>
            <a:off x="110686" y="2935670"/>
            <a:ext cx="2803471" cy="536028"/>
          </a:xfrm>
          <a:prstGeom prst="roundRect">
            <a:avLst>
              <a:gd name="adj" fmla="val 1666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/>
              <a:t>Необходимо прослушать</a:t>
            </a:r>
            <a:endParaRPr/>
          </a:p>
        </p:txBody>
      </p:sp>
      <p:sp>
        <p:nvSpPr>
          <p:cNvPr id="13" name="Скругленный прямоугольник 27" hidden="0"/>
          <p:cNvSpPr/>
          <p:nvPr isPhoto="0" userDrawn="0"/>
        </p:nvSpPr>
        <p:spPr bwMode="auto">
          <a:xfrm>
            <a:off x="6198477" y="2908671"/>
            <a:ext cx="2209800" cy="536028"/>
          </a:xfrm>
          <a:prstGeom prst="roundRect">
            <a:avLst>
              <a:gd name="adj" fmla="val 1666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/>
              <a:t>Можно распечатать</a:t>
            </a:r>
            <a:endParaRPr/>
          </a:p>
        </p:txBody>
      </p:sp>
      <p:sp>
        <p:nvSpPr>
          <p:cNvPr id="14" name="Скругленный прямоугольник 28" hidden="0"/>
          <p:cNvSpPr/>
          <p:nvPr isPhoto="0" userDrawn="0"/>
        </p:nvSpPr>
        <p:spPr bwMode="auto">
          <a:xfrm>
            <a:off x="357352" y="4235669"/>
            <a:ext cx="2556805" cy="919123"/>
          </a:xfrm>
          <a:prstGeom prst="roundRect">
            <a:avLst>
              <a:gd name="adj" fmla="val 1666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/>
              <a:t>Каждые 15 минут предлагается сделать зарядку</a:t>
            </a:r>
            <a:endParaRPr/>
          </a:p>
        </p:txBody>
      </p:sp>
      <p:pic>
        <p:nvPicPr>
          <p:cNvPr id="15" name="Picture 2" descr="http://disk.yandex.net/qr/?clean=1&amp;text=https://clck.ru/gwDep" hidden="0"/>
          <p:cNvPicPr>
            <a:picLocks noChangeAspect="1" noChangeArrowheads="1"/>
          </p:cNvPicPr>
          <p:nvPr isPhoto="0" userDrawn="0"/>
        </p:nvPicPr>
        <p:blipFill>
          <a:blip r:embed="rId6"/>
          <a:stretch/>
        </p:blipFill>
        <p:spPr bwMode="auto">
          <a:xfrm>
            <a:off x="10371630" y="724247"/>
            <a:ext cx="1190625" cy="1190625"/>
          </a:xfrm>
          <a:prstGeom prst="rect">
            <a:avLst/>
          </a:prstGeom>
          <a:noFill/>
        </p:spPr>
      </p:pic>
      <p:sp>
        <p:nvSpPr>
          <p:cNvPr id="16" name="Скругленный прямоугольник 15" hidden="0"/>
          <p:cNvSpPr/>
          <p:nvPr isPhoto="0" userDrawn="0"/>
        </p:nvSpPr>
        <p:spPr bwMode="auto">
          <a:xfrm>
            <a:off x="7303376" y="4468276"/>
            <a:ext cx="4475110" cy="1403119"/>
          </a:xfrm>
          <a:prstGeom prst="roundRect">
            <a:avLst>
              <a:gd name="adj" fmla="val 1666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/>
              <a:t>Методические материалы. </a:t>
            </a:r>
            <a:endParaRPr/>
          </a:p>
          <a:p>
            <a:pPr>
              <a:defRPr/>
            </a:pPr>
            <a:r>
              <a:rPr lang="ru-RU"/>
              <a:t>Дидактически выверенный контент. </a:t>
            </a:r>
            <a:endParaRPr/>
          </a:p>
          <a:p>
            <a:pPr>
              <a:defRPr/>
            </a:pPr>
            <a:r>
              <a:rPr lang="ru-RU"/>
              <a:t>Возможность использовать задания как в электронном, так и в печатном виде </a:t>
            </a:r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Box 2" hidden="0"/>
          <p:cNvSpPr>
            <a:spLocks noAdjustHandles="0" noChangeArrowheads="0"/>
          </p:cNvSpPr>
          <p:nvPr isPhoto="0" userDrawn="0"/>
        </p:nvSpPr>
        <p:spPr bwMode="auto">
          <a:xfrm>
            <a:off x="1891862" y="304800"/>
            <a:ext cx="8124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>
                <a:solidFill>
                  <a:srgbClr val="002060"/>
                </a:solidFill>
              </a:rPr>
              <a:t>Приобрести сервис</a:t>
            </a:r>
            <a:endParaRPr lang="ru-RU" sz="2400" b="1">
              <a:solidFill>
                <a:srgbClr val="002060"/>
              </a:solidFill>
            </a:endParaRPr>
          </a:p>
        </p:txBody>
      </p:sp>
      <p:sp>
        <p:nvSpPr>
          <p:cNvPr id="5" name="Прямоугольник 3" hidden="0"/>
          <p:cNvSpPr/>
          <p:nvPr isPhoto="0" userDrawn="0"/>
        </p:nvSpPr>
        <p:spPr bwMode="auto">
          <a:xfrm>
            <a:off x="1891862" y="711361"/>
            <a:ext cx="21066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solidFill>
                  <a:schemeClr val="accent1"/>
                </a:solidFill>
              </a:rPr>
              <a:t>https://lecta.ru/ksg/</a:t>
            </a:r>
            <a:endParaRPr lang="ru-RU">
              <a:solidFill>
                <a:schemeClr val="accent1"/>
              </a:solidFill>
            </a:endParaRPr>
          </a:p>
        </p:txBody>
      </p:sp>
      <p:pic>
        <p:nvPicPr>
          <p:cNvPr id="6" name="Рисунок 4" hidden="0"/>
          <p:cNvPicPr>
            <a:picLocks noChangeAspect="1"/>
          </p:cNvPicPr>
          <p:nvPr isPhoto="0" userDrawn="0"/>
        </p:nvPicPr>
        <p:blipFill>
          <a:blip r:embed="rId2"/>
          <a:srcRect l="0" t="4352" r="0" b="0"/>
          <a:stretch/>
        </p:blipFill>
        <p:spPr bwMode="auto">
          <a:xfrm>
            <a:off x="659503" y="1080693"/>
            <a:ext cx="10845148" cy="53569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4" name="Группа 13" hidden="0"/>
          <p:cNvGrpSpPr/>
          <p:nvPr isPhoto="0" userDrawn="0"/>
        </p:nvGrpSpPr>
        <p:grpSpPr bwMode="auto">
          <a:xfrm>
            <a:off x="1618593" y="756745"/>
            <a:ext cx="5151440" cy="5562136"/>
            <a:chOff x="0" y="578123"/>
            <a:chExt cx="6039751" cy="6412874"/>
          </a:xfrm>
          <a:solidFill>
            <a:srgbClr val="FF8E8A"/>
          </a:solidFill>
        </p:grpSpPr>
        <p:pic>
          <p:nvPicPr>
            <p:cNvPr id="5" name="Рисунок 11" hidden="0"/>
            <p:cNvPicPr>
              <a:picLocks noChangeAspect="1"/>
            </p:cNvPicPr>
            <p:nvPr isPhoto="0" userDrawn="0"/>
          </p:nvPicPr>
          <p:blipFill>
            <a:blip r:embed="rId2"/>
            <a:srcRect l="5819" t="0" r="0" b="0"/>
            <a:stretch/>
          </p:blipFill>
          <p:spPr bwMode="auto">
            <a:xfrm>
              <a:off x="0" y="578123"/>
              <a:ext cx="6039751" cy="6412874"/>
            </a:xfrm>
            <a:prstGeom prst="rect">
              <a:avLst/>
            </a:prstGeom>
            <a:grpFill/>
          </p:spPr>
        </p:pic>
        <p:pic>
          <p:nvPicPr>
            <p:cNvPr id="6" name="Рисунок 7" hidden="0"/>
            <p:cNvPicPr>
              <a:picLocks noChangeAspect="1"/>
            </p:cNvPicPr>
            <p:nvPr isPhoto="0" userDrawn="0"/>
          </p:nvPicPr>
          <p:blipFill>
            <a:blip r:embed="rId3"/>
            <a:stretch/>
          </p:blipFill>
          <p:spPr bwMode="auto">
            <a:xfrm>
              <a:off x="1720074" y="2462555"/>
              <a:ext cx="177046" cy="205374"/>
            </a:xfrm>
            <a:prstGeom prst="rect">
              <a:avLst/>
            </a:prstGeom>
            <a:noFill/>
          </p:spPr>
        </p:pic>
      </p:grpSp>
      <p:sp>
        <p:nvSpPr>
          <p:cNvPr id="7" name="Прямоугольник 6" hidden="0"/>
          <p:cNvSpPr/>
          <p:nvPr isPhoto="0" userDrawn="0"/>
        </p:nvSpPr>
        <p:spPr bwMode="auto">
          <a:xfrm>
            <a:off x="6770033" y="2669025"/>
            <a:ext cx="4267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4800">
                <a:solidFill>
                  <a:srgbClr val="5756D3"/>
                </a:solidFill>
                <a:latin typeface="Arial Black"/>
                <a:ea typeface="Roboto Black"/>
                <a:cs typeface="Roboto Black"/>
              </a:rPr>
              <a:t>WEBPROSV</a:t>
            </a:r>
            <a:endParaRPr lang="ru-RU" sz="4800">
              <a:solidFill>
                <a:srgbClr val="2E31A2"/>
              </a:solidFill>
              <a:latin typeface="Arial Black"/>
              <a:ea typeface="Roboto Black"/>
              <a:cs typeface="Roboto Black"/>
            </a:endParaRPr>
          </a:p>
        </p:txBody>
      </p:sp>
      <p:sp>
        <p:nvSpPr>
          <p:cNvPr id="8" name="TextBox 13" hidden="0"/>
          <p:cNvSpPr>
            <a:spLocks noAdjustHandles="0" noChangeArrowheads="0"/>
          </p:cNvSpPr>
          <p:nvPr isPhoto="0" userDrawn="0"/>
        </p:nvSpPr>
        <p:spPr bwMode="auto">
          <a:xfrm>
            <a:off x="277607" y="6318880"/>
            <a:ext cx="3429038" cy="410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60412">
              <a:lnSpc>
                <a:spcPts val="1617"/>
              </a:lnSpc>
              <a:spcBef>
                <a:spcPts val="0"/>
              </a:spcBef>
              <a:defRPr/>
            </a:pPr>
            <a:endParaRPr sz="1300">
              <a:solidFill>
                <a:schemeClr val="bg1">
                  <a:lumMod val="65000"/>
                </a:schemeClr>
              </a:solidFill>
              <a:latin typeface="Calibri"/>
            </a:endParaRPr>
          </a:p>
          <a:p>
            <a:pPr algn="ctr" defTabSz="660412">
              <a:lnSpc>
                <a:spcPts val="1617"/>
              </a:lnSpc>
              <a:spcBef>
                <a:spcPts val="0"/>
              </a:spcBef>
              <a:defRPr/>
            </a:pPr>
            <a:r>
              <a:rPr lang="en-US" sz="1150">
                <a:solidFill>
                  <a:schemeClr val="bg1">
                    <a:lumMod val="65000"/>
                  </a:schemeClr>
                </a:solidFill>
                <a:latin typeface="Lato"/>
              </a:rPr>
              <a:t>© АО «Издательство «Просвещение», 2023</a:t>
            </a:r>
            <a:endParaRPr/>
          </a:p>
        </p:txBody>
      </p:sp>
      <p:pic>
        <p:nvPicPr>
          <p:cNvPr id="9" name="Рисунок 1" hidden="0"/>
          <p:cNvPicPr>
            <a:picLocks noChangeAspect="1"/>
          </p:cNvPicPr>
          <p:nvPr isPhoto="0" userDrawn="0"/>
        </p:nvPicPr>
        <p:blipFill>
          <a:blip r:embed="rId4"/>
          <a:stretch/>
        </p:blipFill>
        <p:spPr bwMode="auto">
          <a:xfrm>
            <a:off x="10015476" y="5859172"/>
            <a:ext cx="860785" cy="852508"/>
          </a:xfrm>
          <a:prstGeom prst="rect">
            <a:avLst/>
          </a:prstGeom>
        </p:spPr>
      </p:pic>
      <p:sp>
        <p:nvSpPr>
          <p:cNvPr id="10" name="Прямоугольник 8" hidden="0"/>
          <p:cNvSpPr/>
          <p:nvPr isPhoto="0" userDrawn="0"/>
        </p:nvSpPr>
        <p:spPr bwMode="auto">
          <a:xfrm>
            <a:off x="7341945" y="5916094"/>
            <a:ext cx="267353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400">
                <a:solidFill>
                  <a:srgbClr val="5756D3"/>
                </a:solidFill>
                <a:latin typeface="Arial Black"/>
                <a:ea typeface="Roboto Black"/>
                <a:cs typeface="Arial"/>
              </a:rPr>
              <a:t>Каталог </a:t>
            </a:r>
            <a:endParaRPr/>
          </a:p>
          <a:p>
            <a:pPr algn="r">
              <a:defRPr/>
            </a:pPr>
            <a:r>
              <a:rPr lang="ru-RU" sz="1400">
                <a:solidFill>
                  <a:srgbClr val="5756D3"/>
                </a:solidFill>
                <a:latin typeface="Arial Black"/>
                <a:ea typeface="Roboto Black"/>
                <a:cs typeface="Arial"/>
              </a:rPr>
              <a:t>цифровых сервисов </a:t>
            </a:r>
            <a:endParaRPr/>
          </a:p>
          <a:p>
            <a:pPr algn="r">
              <a:defRPr/>
            </a:pPr>
            <a:r>
              <a:rPr lang="en-US" sz="1400">
                <a:solidFill>
                  <a:srgbClr val="5756D3"/>
                </a:solidFill>
                <a:latin typeface="Arial Black"/>
                <a:ea typeface="Roboto Black"/>
                <a:cs typeface="Arial"/>
              </a:rPr>
              <a:t>Lecta</a:t>
            </a:r>
            <a:endParaRPr lang="ru-RU" sz="1050">
              <a:solidFill>
                <a:srgbClr val="2E31A2"/>
              </a:solidFill>
              <a:latin typeface="Arial"/>
              <a:ea typeface="Roboto Black"/>
              <a:cs typeface="Arial"/>
            </a:endParaRPr>
          </a:p>
        </p:txBody>
      </p:sp>
      <p:sp>
        <p:nvSpPr>
          <p:cNvPr id="11" name="Прямоугольник 2" hidden="0"/>
          <p:cNvSpPr/>
          <p:nvPr isPhoto="0" userDrawn="0"/>
        </p:nvSpPr>
        <p:spPr bwMode="auto">
          <a:xfrm>
            <a:off x="5741126" y="3500021"/>
            <a:ext cx="513513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промокод на скидку 30% на весь чек </a:t>
            </a:r>
            <a:endParaRPr/>
          </a:p>
          <a:p>
            <a:pPr algn="r">
              <a:defRPr/>
            </a:pPr>
            <a:r>
              <a:rPr lang="ru-RU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на платформе </a:t>
            </a:r>
            <a:r>
              <a:rPr lang="en-US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Lecta.ru</a:t>
            </a:r>
            <a:r>
              <a:rPr lang="ru-RU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 </a:t>
            </a:r>
            <a:endParaRPr/>
          </a:p>
          <a:p>
            <a:pPr algn="r">
              <a:defRPr/>
            </a:pPr>
            <a:r>
              <a:rPr lang="ru-RU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действителен до </a:t>
            </a:r>
            <a:r>
              <a:rPr lang="en-US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28</a:t>
            </a:r>
            <a:r>
              <a:rPr lang="ru-RU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.0</a:t>
            </a:r>
            <a:r>
              <a:rPr lang="en-US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2</a:t>
            </a:r>
            <a:r>
              <a:rPr lang="ru-RU" sz="1400">
                <a:solidFill>
                  <a:srgbClr val="2E31A2"/>
                </a:solidFill>
                <a:latin typeface="Arial"/>
                <a:ea typeface="Roboto Black"/>
                <a:cs typeface="Arial"/>
              </a:rPr>
              <a:t>.2023 включительно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5" hidden="0"/>
          <p:cNvSpPr>
            <a:spLocks noChangeArrowheads="1"/>
          </p:cNvSpPr>
          <p:nvPr isPhoto="0" userDrawn="0"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5" name="Прямоугольник 97" hidden="0"/>
          <p:cNvSpPr/>
          <p:nvPr isPhoto="0" userDrawn="0"/>
        </p:nvSpPr>
        <p:spPr bwMode="auto">
          <a:xfrm>
            <a:off x="186184" y="2852936"/>
            <a:ext cx="11819633" cy="3360372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6" name="Rectangle 7" hidden="0"/>
          <p:cNvSpPr>
            <a:spLocks noChangeArrowheads="1"/>
          </p:cNvSpPr>
          <p:nvPr isPhoto="0" userDrawn="0"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7" name="Rectangle 8" hidden="0"/>
          <p:cNvSpPr>
            <a:spLocks noChangeArrowheads="1"/>
          </p:cNvSpPr>
          <p:nvPr isPhoto="0" userDrawn="0"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8" name="Rectangle 10" hidden="0"/>
          <p:cNvSpPr>
            <a:spLocks noChangeArrowheads="1"/>
          </p:cNvSpPr>
          <p:nvPr isPhoto="0" userDrawn="0"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9" name="Rectangle 11" hidden="0"/>
          <p:cNvSpPr>
            <a:spLocks noChangeArrowheads="1"/>
          </p:cNvSpPr>
          <p:nvPr isPhoto="0" userDrawn="0"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0" name="Rectangle 12" hidden="0"/>
          <p:cNvSpPr>
            <a:spLocks noChangeArrowheads="1"/>
          </p:cNvSpPr>
          <p:nvPr isPhoto="0" userDrawn="0"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1" name="Rectangle 13" hidden="0"/>
          <p:cNvSpPr>
            <a:spLocks noChangeArrowheads="1"/>
          </p:cNvSpPr>
          <p:nvPr isPhoto="0" userDrawn="0"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2" name="Rectangle 14" hidden="0"/>
          <p:cNvSpPr>
            <a:spLocks noChangeArrowheads="1"/>
          </p:cNvSpPr>
          <p:nvPr isPhoto="0" userDrawn="0"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3" name="Rectangle 15" hidden="0"/>
          <p:cNvSpPr>
            <a:spLocks noChangeArrowheads="1"/>
          </p:cNvSpPr>
          <p:nvPr isPhoto="0" userDrawn="0"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4" name="Rectangle 17" hidden="0"/>
          <p:cNvSpPr>
            <a:spLocks noChangeArrowheads="1"/>
          </p:cNvSpPr>
          <p:nvPr isPhoto="0" userDrawn="0"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5" name="Rectangle 19" hidden="0"/>
          <p:cNvSpPr>
            <a:spLocks noChangeArrowheads="1"/>
          </p:cNvSpPr>
          <p:nvPr isPhoto="0" userDrawn="0"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6" name="Rectangle 20" hidden="0"/>
          <p:cNvSpPr>
            <a:spLocks noChangeArrowheads="1"/>
          </p:cNvSpPr>
          <p:nvPr isPhoto="0" userDrawn="0"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7" name="Rectangle 21" hidden="0"/>
          <p:cNvSpPr>
            <a:spLocks noChangeArrowheads="1"/>
          </p:cNvSpPr>
          <p:nvPr isPhoto="0" userDrawn="0"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8" name="Rectangle 22" hidden="0"/>
          <p:cNvSpPr>
            <a:spLocks noChangeArrowheads="1"/>
          </p:cNvSpPr>
          <p:nvPr isPhoto="0" userDrawn="0"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9" name="Rectangle 24" hidden="0"/>
          <p:cNvSpPr>
            <a:spLocks noChangeArrowheads="1"/>
          </p:cNvSpPr>
          <p:nvPr isPhoto="0" userDrawn="0"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0" name="Rectangle 25" hidden="0"/>
          <p:cNvSpPr>
            <a:spLocks noChangeArrowheads="1"/>
          </p:cNvSpPr>
          <p:nvPr isPhoto="0" userDrawn="0"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1" name="Rectangle 29" hidden="0"/>
          <p:cNvSpPr>
            <a:spLocks noChangeArrowheads="1"/>
          </p:cNvSpPr>
          <p:nvPr isPhoto="0" userDrawn="0"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2" name="Freeform 32" hidden="0"/>
          <p:cNvSpPr>
            <a:spLocks noEditPoints="1"/>
          </p:cNvSpPr>
          <p:nvPr isPhoto="0" userDrawn="0"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 fill="norm" stroke="1" extrusionOk="0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3" name="Freeform 33" hidden="0"/>
          <p:cNvSpPr>
            <a:spLocks noEditPoints="1"/>
          </p:cNvSpPr>
          <p:nvPr isPhoto="0" userDrawn="0"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 fill="norm" stroke="1" extrusionOk="0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4" name="Rectangle 34" hidden="0"/>
          <p:cNvSpPr>
            <a:spLocks noChangeArrowheads="1"/>
          </p:cNvSpPr>
          <p:nvPr isPhoto="0" userDrawn="0"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5" name="Rectangle 35" hidden="0"/>
          <p:cNvSpPr>
            <a:spLocks noChangeArrowheads="1"/>
          </p:cNvSpPr>
          <p:nvPr isPhoto="0" userDrawn="0"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6" name="Rectangle 36" hidden="0"/>
          <p:cNvSpPr>
            <a:spLocks noChangeArrowheads="1"/>
          </p:cNvSpPr>
          <p:nvPr isPhoto="0" userDrawn="0"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7" name="Freeform 37" hidden="0"/>
          <p:cNvSpPr>
            <a:spLocks noEditPoints="1"/>
          </p:cNvSpPr>
          <p:nvPr isPhoto="0" userDrawn="0"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 fill="norm" stroke="1" extrusionOk="0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8" name="Freeform 38" hidden="0"/>
          <p:cNvSpPr>
            <a:spLocks noEditPoints="1"/>
          </p:cNvSpPr>
          <p:nvPr isPhoto="0" userDrawn="0"/>
        </p:nvSpPr>
        <p:spPr bwMode="auto">
          <a:xfrm>
            <a:off x="11074902" y="1789685"/>
            <a:ext cx="384377" cy="576290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 fill="norm" stroke="1" extrusionOk="0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9" name="Freeform 40" hidden="0"/>
          <p:cNvSpPr>
            <a:spLocks noEditPoints="1"/>
          </p:cNvSpPr>
          <p:nvPr isPhoto="0" userDrawn="0"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 fill="norm" stroke="1" extrusionOk="0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0" name="Freeform 41" hidden="0"/>
          <p:cNvSpPr/>
          <p:nvPr isPhoto="0" userDrawn="0"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 fill="norm" stroke="1" extrusionOk="0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grpSp>
        <p:nvGrpSpPr>
          <p:cNvPr id="31" name="Группа 96" hidden="0"/>
          <p:cNvGrpSpPr/>
          <p:nvPr isPhoto="0" userDrawn="0"/>
        </p:nvGrpSpPr>
        <p:grpSpPr bwMode="auto">
          <a:xfrm>
            <a:off x="9501353" y="538286"/>
            <a:ext cx="546537" cy="591303"/>
            <a:chOff x="477468" y="2705514"/>
            <a:chExt cx="409902" cy="443476"/>
          </a:xfrm>
        </p:grpSpPr>
        <p:sp>
          <p:nvSpPr>
            <p:cNvPr id="32" name="Freeform 42" hidden="0"/>
            <p:cNvSpPr>
              <a:spLocks noEditPoints="1"/>
            </p:cNvSpPr>
            <p:nvPr isPhoto="0" userDrawn="0"/>
          </p:nvSpPr>
          <p:spPr bwMode="auto">
            <a:xfrm>
              <a:off x="477468" y="2705514"/>
              <a:ext cx="409902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 fill="norm" stroke="1" extrusionOk="0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33" name="Rectangle 43" hidden="0"/>
            <p:cNvSpPr>
              <a:spLocks noChangeArrowheads="1"/>
            </p:cNvSpPr>
            <p:nvPr isPhoto="0" userDrawn="0"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2400"/>
            </a:p>
          </p:txBody>
        </p:sp>
      </p:grpSp>
      <p:sp>
        <p:nvSpPr>
          <p:cNvPr id="34" name="Freeform 44" hidden="0"/>
          <p:cNvSpPr>
            <a:spLocks noEditPoints="1"/>
          </p:cNvSpPr>
          <p:nvPr isPhoto="0" userDrawn="0"/>
        </p:nvSpPr>
        <p:spPr bwMode="auto">
          <a:xfrm>
            <a:off x="10966796" y="509539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 fill="norm" stroke="1" extrusionOk="0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5" name="Freeform 45" hidden="0"/>
          <p:cNvSpPr>
            <a:spLocks noEditPoints="1"/>
          </p:cNvSpPr>
          <p:nvPr isPhoto="0" userDrawn="0"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 fill="norm" stroke="1" extrusionOk="0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6" name="Freeform 46" hidden="0"/>
          <p:cNvSpPr>
            <a:spLocks noEditPoints="1"/>
          </p:cNvSpPr>
          <p:nvPr isPhoto="0" userDrawn="0"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 fill="norm" stroke="1" extrusionOk="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7" name="Freeform 48" hidden="0"/>
          <p:cNvSpPr>
            <a:spLocks noEditPoints="1"/>
          </p:cNvSpPr>
          <p:nvPr isPhoto="0" userDrawn="0"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 fill="norm" stroke="1" extrusionOk="0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8" name="Freeform 49" hidden="0"/>
          <p:cNvSpPr>
            <a:spLocks noEditPoints="1"/>
          </p:cNvSpPr>
          <p:nvPr isPhoto="0" userDrawn="0"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 fill="norm" stroke="1" extrusionOk="0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9" name="Freeform 52" hidden="0"/>
          <p:cNvSpPr>
            <a:spLocks noEditPoints="1"/>
          </p:cNvSpPr>
          <p:nvPr isPhoto="0" userDrawn="0"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 fill="norm" stroke="1" extrusionOk="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0" name="Freeform 53" hidden="0"/>
          <p:cNvSpPr>
            <a:spLocks noEditPoints="1"/>
          </p:cNvSpPr>
          <p:nvPr isPhoto="0" userDrawn="0"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 fill="norm" stroke="1" extrusionOk="0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1" name="Freeform 55" hidden="0"/>
          <p:cNvSpPr>
            <a:spLocks noEditPoints="1"/>
          </p:cNvSpPr>
          <p:nvPr isPhoto="0" userDrawn="0"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 fill="norm" stroke="1" extrusionOk="0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2" name="Freeform 71" hidden="0"/>
          <p:cNvSpPr>
            <a:spLocks noEditPoints="1"/>
          </p:cNvSpPr>
          <p:nvPr isPhoto="0" userDrawn="0"/>
        </p:nvSpPr>
        <p:spPr bwMode="auto">
          <a:xfrm>
            <a:off x="6540439" y="532049"/>
            <a:ext cx="588580" cy="576290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 fill="norm" stroke="1" extrusionOk="0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/>
          </a:p>
        </p:txBody>
      </p:sp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3" name="" hidden="0"/>
                  <p:cNvPicPr/>
                  <p:nvPr isPhoto="0" userDrawn="0"/>
                </p:nvPicPr>
                <p:blipFill>
                  <a:blip r:embed="rId2"/>
                  <a:stretch/>
                </p:blipFill>
                <p:spPr bwMode="auto">
                  <a:xfrm>
                    <a:off x="1590" y="1590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44" name="AutoShape 4" hidden="0"/>
          <p:cNvSpPr>
            <a:spLocks noChangeArrowheads="1" noChangeAspect="1" noTextEdit="1"/>
          </p:cNvSpPr>
          <p:nvPr isPhoto="0" userDrawn="0"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ru-RU" sz="2400">
              <a:solidFill>
                <a:schemeClr val="bg1"/>
              </a:solidFill>
            </a:endParaRPr>
          </a:p>
        </p:txBody>
      </p:sp>
      <p:sp>
        <p:nvSpPr>
          <p:cNvPr id="45" name="TextBox 25" hidden="0"/>
          <p:cNvSpPr>
            <a:spLocks noAdjustHandles="0" noChangeArrowheads="0"/>
          </p:cNvSpPr>
          <p:nvPr isPhoto="0" userDrawn="0"/>
        </p:nvSpPr>
        <p:spPr bwMode="auto"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</a:t>
            </a:r>
            <a:r>
              <a:rPr lang="ru-RU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© ГК «Просвещение», 2022 </a:t>
            </a:r>
            <a:r>
              <a:rPr lang="ru-RU" sz="95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г.</a:t>
            </a:r>
            <a:endParaRPr/>
          </a:p>
        </p:txBody>
      </p:sp>
      <p:sp>
        <p:nvSpPr>
          <p:cNvPr id="46" name="Подзаголовок 2" hidden="0"/>
          <p:cNvSpPr>
            <a:spLocks noAdjustHandles="0" noChangeArrowheads="0"/>
          </p:cNvSpPr>
          <p:nvPr isPhoto="0" userDrawn="0"/>
        </p:nvSpPr>
        <p:spPr bwMode="auto">
          <a:xfrm>
            <a:off x="1909445" y="5023147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>
                <a:solidFill>
                  <a:schemeClr val="tx1">
                    <a:lumMod val="95000"/>
                    <a:lumOff val="5000"/>
                  </a:schemeClr>
                </a:solidFill>
                <a:latin typeface="Open Sans"/>
                <a:ea typeface="Open Sans"/>
                <a:cs typeface="Open Sans"/>
              </a:rPr>
              <a:t>Группа компаний «Просвещение»</a:t>
            </a:r>
            <a:endParaRPr/>
          </a:p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>
                <a:solidFill>
                  <a:schemeClr val="tx1">
                    <a:lumMod val="95000"/>
                    <a:lumOff val="5000"/>
                  </a:schemeClr>
                </a:solidFill>
                <a:latin typeface="Open Sans"/>
                <a:ea typeface="Open Sans"/>
                <a:cs typeface="Open Sans"/>
              </a:rPr>
              <a:t>Адрес: </a:t>
            </a:r>
            <a:r>
              <a:rPr lang="ru-RU" sz="1200">
                <a:solidFill>
                  <a:schemeClr val="tx1">
                    <a:lumMod val="95000"/>
                    <a:lumOff val="5000"/>
                  </a:schemeClr>
                </a:solidFill>
                <a:latin typeface="Open Sans"/>
                <a:ea typeface="Open Sans"/>
                <a:cs typeface="Open Sans"/>
              </a:rPr>
              <a:t>127473, г. Москва, ул. Краснопролетарская, д. 16, стр. 3, подъезд 8, бизнес-центр «Новослободский»</a:t>
            </a:r>
            <a:endParaRPr/>
          </a:p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>
                <a:solidFill>
                  <a:schemeClr val="tx1">
                    <a:lumMod val="95000"/>
                    <a:lumOff val="5000"/>
                  </a:schemeClr>
                </a:solidFill>
                <a:latin typeface="Open Sans"/>
                <a:ea typeface="Open Sans"/>
                <a:cs typeface="Open Sans"/>
              </a:rPr>
              <a:t>8 (495) 789-30-40 </a:t>
            </a:r>
            <a:br>
              <a:rPr lang="ru-RU" sz="1200">
                <a:solidFill>
                  <a:schemeClr val="tx1">
                    <a:lumMod val="95000"/>
                    <a:lumOff val="5000"/>
                  </a:schemeClr>
                </a:solidFill>
                <a:latin typeface="Open Sans"/>
                <a:ea typeface="Open Sans"/>
                <a:cs typeface="Open Sans"/>
              </a:rPr>
            </a:br>
            <a:r>
              <a:rPr lang="ru-RU" sz="1200" spc="-40">
                <a:solidFill>
                  <a:schemeClr val="tx1">
                    <a:lumMod val="95000"/>
                    <a:lumOff val="5000"/>
                  </a:schemeClr>
                </a:solidFill>
                <a:latin typeface="Open Sans"/>
                <a:ea typeface="Open Sans"/>
                <a:cs typeface="Open Sans"/>
              </a:rPr>
              <a:t>Горячая линия: </a:t>
            </a:r>
            <a:r>
              <a:rPr lang="en-US" sz="1200" u="sng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ea typeface="Open Sans"/>
                <a:cs typeface="Open Sans"/>
                <a:hlinkClick r:id="rId4" tooltip="mailto:vopros@prosv.ru"/>
              </a:rPr>
              <a:t>vopros</a:t>
            </a:r>
            <a:r>
              <a:rPr lang="ru-RU" sz="1200" u="sng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ea typeface="Open Sans"/>
                <a:cs typeface="Open Sans"/>
                <a:hlinkClick r:id="rId4" tooltip="mailto:vopros@prosv.ru"/>
              </a:rPr>
              <a:t>@</a:t>
            </a:r>
            <a:r>
              <a:rPr lang="en-US" sz="1200" u="sng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ea typeface="Open Sans"/>
                <a:cs typeface="Open Sans"/>
                <a:hlinkClick r:id="rId4" tooltip="mailto:vopros@prosv.ru"/>
              </a:rPr>
              <a:t>prosv</a:t>
            </a:r>
            <a:r>
              <a:rPr lang="ru-RU" sz="1200" u="sng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ea typeface="Open Sans"/>
                <a:cs typeface="Open Sans"/>
                <a:hlinkClick r:id="rId4" tooltip="mailto:vopros@prosv.ru"/>
              </a:rPr>
              <a:t>.</a:t>
            </a:r>
            <a:r>
              <a:rPr lang="en-US" sz="1200" u="sng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ea typeface="Open Sans"/>
                <a:cs typeface="Open Sans"/>
                <a:hlinkClick r:id="rId4" tooltip="mailto:vopros@prosv.ru"/>
              </a:rPr>
              <a:t>ru</a:t>
            </a:r>
            <a:endParaRPr lang="ru-RU" sz="1200" spc="-40">
              <a:solidFill>
                <a:schemeClr val="tx1">
                  <a:lumMod val="75000"/>
                  <a:lumOff val="25000"/>
                </a:schemeClr>
              </a:solidFill>
              <a:latin typeface="Open Sans"/>
              <a:ea typeface="Open Sans"/>
              <a:cs typeface="Open Sans"/>
            </a:endParaRPr>
          </a:p>
        </p:txBody>
      </p:sp>
      <p:pic>
        <p:nvPicPr>
          <p:cNvPr id="47" name="Рисунок 24" hidden="0">
            <a:hlinkClick r:id="rId5"/>
          </p:cNvPr>
          <p:cNvPicPr>
            <a:picLocks noChangeAspect="1"/>
          </p:cNvPicPr>
          <p:nvPr isPhoto="0" userDrawn="0"/>
        </p:nvPicPr>
        <p:blipFill>
          <a:blip r:embed="rId6"/>
          <a:stretch/>
        </p:blipFill>
        <p:spPr bwMode="auto">
          <a:xfrm>
            <a:off x="186185" y="4735858"/>
            <a:ext cx="1477452" cy="147745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6.2.0.123</Application>
  <DocSecurity>0</DocSecurity>
  <PresentationFormat>Широкоэкранный</PresentationFormat>
  <Paragraphs>0</Paragraphs>
  <Slides>9</Slides>
  <Notes>9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Грачева Екатерина Андреевна</dc:creator>
  <cp:keywords/>
  <dc:description/>
  <dc:identifier/>
  <dc:language/>
  <cp:lastModifiedBy>Бек-Назарова Ирина Сергеевна</cp:lastModifiedBy>
  <cp:revision>897</cp:revision>
  <dcterms:created xsi:type="dcterms:W3CDTF">2020-02-25T09:30:21Z</dcterms:created>
  <dcterms:modified xsi:type="dcterms:W3CDTF">2023-02-06T11:34:33Z</dcterms:modified>
  <cp:category/>
  <cp:contentStatus/>
  <cp:version/>
</cp:coreProperties>
</file>